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26"/>
  </p:notesMasterIdLst>
  <p:sldIdLst>
    <p:sldId id="259" r:id="rId7"/>
    <p:sldId id="2147471602" r:id="rId8"/>
    <p:sldId id="2147473640" r:id="rId9"/>
    <p:sldId id="2147473655" r:id="rId10"/>
    <p:sldId id="2147473646" r:id="rId11"/>
    <p:sldId id="2147473645" r:id="rId12"/>
    <p:sldId id="2147473651" r:id="rId13"/>
    <p:sldId id="2147473659" r:id="rId14"/>
    <p:sldId id="2147473661" r:id="rId15"/>
    <p:sldId id="2147473662" r:id="rId16"/>
    <p:sldId id="2147473672" r:id="rId17"/>
    <p:sldId id="2147473673" r:id="rId18"/>
    <p:sldId id="2147473674" r:id="rId19"/>
    <p:sldId id="2147473649" r:id="rId20"/>
    <p:sldId id="2147473676" r:id="rId21"/>
    <p:sldId id="2147473677" r:id="rId22"/>
    <p:sldId id="2147473678" r:id="rId23"/>
    <p:sldId id="2147473679" r:id="rId24"/>
    <p:sldId id="2147473680"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640"/>
            <p14:sldId id="2147473655"/>
            <p14:sldId id="2147473646"/>
            <p14:sldId id="2147473645"/>
            <p14:sldId id="2147473651"/>
            <p14:sldId id="2147473659"/>
            <p14:sldId id="2147473661"/>
            <p14:sldId id="2147473662"/>
            <p14:sldId id="2147473672"/>
            <p14:sldId id="2147473673"/>
            <p14:sldId id="2147473674"/>
            <p14:sldId id="2147473649"/>
            <p14:sldId id="2147473676"/>
            <p14:sldId id="2147473677"/>
            <p14:sldId id="2147473678"/>
            <p14:sldId id="2147473679"/>
            <p14:sldId id="2147473680"/>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5337" autoAdjust="0"/>
  </p:normalViewPr>
  <p:slideViewPr>
    <p:cSldViewPr snapToGrid="0">
      <p:cViewPr varScale="1">
        <p:scale>
          <a:sx n="86" d="100"/>
          <a:sy n="86" d="100"/>
        </p:scale>
        <p:origin x="562" y="58"/>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35</c:v>
                </c:pt>
                <c:pt idx="1">
                  <c:v>35</c:v>
                </c:pt>
                <c:pt idx="2">
                  <c:v>35</c:v>
                </c:pt>
                <c:pt idx="3">
                  <c:v>35</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35</c:v>
                </c:pt>
                <c:pt idx="1">
                  <c:v>35</c:v>
                </c:pt>
                <c:pt idx="2">
                  <c:v>35</c:v>
                </c:pt>
                <c:pt idx="3">
                  <c:v>21</c:v>
                </c:pt>
              </c:numCache>
            </c:numRef>
          </c:val>
          <c:extLst>
            <c:ext xmlns:c16="http://schemas.microsoft.com/office/drawing/2014/chart" uri="{C3380CC4-5D6E-409C-BE32-E72D297353CC}">
              <c16:uniqueId val="{00000001-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7/1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 July 20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65670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7</a:t>
            </a:fld>
            <a:endParaRPr lang="en-US"/>
          </a:p>
        </p:txBody>
      </p:sp>
    </p:spTree>
    <p:extLst>
      <p:ext uri="{BB962C8B-B14F-4D97-AF65-F5344CB8AC3E}">
        <p14:creationId xmlns:p14="http://schemas.microsoft.com/office/powerpoint/2010/main" val="1423687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image" Target="../media/image3.emf"/><Relationship Id="rId5" Type="http://schemas.openxmlformats.org/officeDocument/2006/relationships/tags" Target="../tags/tag62.xml"/><Relationship Id="rId10" Type="http://schemas.openxmlformats.org/officeDocument/2006/relationships/oleObject" Target="../embeddings/oleObject8.bin"/><Relationship Id="rId4" Type="http://schemas.openxmlformats.org/officeDocument/2006/relationships/tags" Target="../tags/tag61.xml"/><Relationship Id="rId9"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image" Target="../media/image3.emf"/><Relationship Id="rId5" Type="http://schemas.openxmlformats.org/officeDocument/2006/relationships/tags" Target="../tags/tag70.xml"/><Relationship Id="rId10" Type="http://schemas.openxmlformats.org/officeDocument/2006/relationships/oleObject" Target="../embeddings/oleObject9.bin"/><Relationship Id="rId4" Type="http://schemas.openxmlformats.org/officeDocument/2006/relationships/tags" Target="../tags/tag69.xml"/><Relationship Id="rId9"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image" Target="../media/image3.emf"/><Relationship Id="rId5" Type="http://schemas.openxmlformats.org/officeDocument/2006/relationships/tags" Target="../tags/tag78.xml"/><Relationship Id="rId10" Type="http://schemas.openxmlformats.org/officeDocument/2006/relationships/oleObject" Target="../embeddings/oleObject10.bin"/><Relationship Id="rId4" Type="http://schemas.openxmlformats.org/officeDocument/2006/relationships/tags" Target="../tags/tag77.xml"/><Relationship Id="rId9"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9.xml"/><Relationship Id="rId3" Type="http://schemas.openxmlformats.org/officeDocument/2006/relationships/tags" Target="../tags/tag84.xml"/><Relationship Id="rId7" Type="http://schemas.openxmlformats.org/officeDocument/2006/relationships/tags" Target="../tags/tag88.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image" Target="../media/image9.emf"/><Relationship Id="rId5" Type="http://schemas.openxmlformats.org/officeDocument/2006/relationships/tags" Target="../tags/tag86.xml"/><Relationship Id="rId10" Type="http://schemas.openxmlformats.org/officeDocument/2006/relationships/oleObject" Target="../embeddings/oleObject11.bin"/><Relationship Id="rId4" Type="http://schemas.openxmlformats.org/officeDocument/2006/relationships/tags" Target="../tags/tag85.xml"/><Relationship Id="rId9"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7.xml"/><Relationship Id="rId3" Type="http://schemas.openxmlformats.org/officeDocument/2006/relationships/tags" Target="../tags/tag92.xml"/><Relationship Id="rId7" Type="http://schemas.openxmlformats.org/officeDocument/2006/relationships/tags" Target="../tags/tag9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image" Target="../media/image3.emf"/><Relationship Id="rId5" Type="http://schemas.openxmlformats.org/officeDocument/2006/relationships/tags" Target="../tags/tag94.xml"/><Relationship Id="rId10" Type="http://schemas.openxmlformats.org/officeDocument/2006/relationships/oleObject" Target="../embeddings/oleObject12.bin"/><Relationship Id="rId4" Type="http://schemas.openxmlformats.org/officeDocument/2006/relationships/tags" Target="../tags/tag93.xml"/><Relationship Id="rId9"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0.xml"/><Relationship Id="rId7"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5" Type="http://schemas.openxmlformats.org/officeDocument/2006/relationships/tags" Target="../tags/tag102.xml"/><Relationship Id="rId10" Type="http://schemas.openxmlformats.org/officeDocument/2006/relationships/image" Target="../media/image4.png"/><Relationship Id="rId4" Type="http://schemas.openxmlformats.org/officeDocument/2006/relationships/tags" Target="../tags/tag101.xml"/><Relationship Id="rId9" Type="http://schemas.openxmlformats.org/officeDocument/2006/relationships/image" Target="../media/image5.emf"/></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5.emf"/><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oleObject" Target="../embeddings/oleObject14.bin"/><Relationship Id="rId5" Type="http://schemas.openxmlformats.org/officeDocument/2006/relationships/slideMaster" Target="../slideMasters/slideMaster2.xml"/><Relationship Id="rId4" Type="http://schemas.openxmlformats.org/officeDocument/2006/relationships/tags" Target="../tags/tag107.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12.xml"/><Relationship Id="rId7" Type="http://schemas.openxmlformats.org/officeDocument/2006/relationships/tags" Target="../tags/tag116.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5" Type="http://schemas.openxmlformats.org/officeDocument/2006/relationships/tags" Target="../tags/tag114.xml"/><Relationship Id="rId10" Type="http://schemas.openxmlformats.org/officeDocument/2006/relationships/image" Target="../media/image3.emf"/><Relationship Id="rId4" Type="http://schemas.openxmlformats.org/officeDocument/2006/relationships/tags" Target="../tags/tag113.xml"/><Relationship Id="rId9"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23.xml"/><Relationship Id="rId7" Type="http://schemas.openxmlformats.org/officeDocument/2006/relationships/tags" Target="../tags/tag127.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5" Type="http://schemas.openxmlformats.org/officeDocument/2006/relationships/tags" Target="../tags/tag125.xml"/><Relationship Id="rId10" Type="http://schemas.openxmlformats.org/officeDocument/2006/relationships/image" Target="../media/image3.emf"/><Relationship Id="rId4" Type="http://schemas.openxmlformats.org/officeDocument/2006/relationships/tags" Target="../tags/tag124.xml"/><Relationship Id="rId9" Type="http://schemas.openxmlformats.org/officeDocument/2006/relationships/oleObject" Target="../embeddings/oleObject17.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5" Type="http://schemas.openxmlformats.org/officeDocument/2006/relationships/tags" Target="../tags/tag25.xml"/><Relationship Id="rId10" Type="http://schemas.openxmlformats.org/officeDocument/2006/relationships/image" Target="../media/image3.emf"/><Relationship Id="rId4" Type="http://schemas.openxmlformats.org/officeDocument/2006/relationships/tags" Target="../tags/tag24.xml"/><Relationship Id="rId9" Type="http://schemas.openxmlformats.org/officeDocument/2006/relationships/oleObject" Target="../embeddings/oleObject2.bin"/></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0.xml"/><Relationship Id="rId7" Type="http://schemas.openxmlformats.org/officeDocument/2006/relationships/oleObject" Target="../embeddings/oleObject3.bin"/><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slideMaster" Target="../slideMasters/slideMaster2.xml"/><Relationship Id="rId11" Type="http://schemas.openxmlformats.org/officeDocument/2006/relationships/image" Target="../media/image8.png"/><Relationship Id="rId5" Type="http://schemas.openxmlformats.org/officeDocument/2006/relationships/tags" Target="../tags/tag32.xml"/><Relationship Id="rId10" Type="http://schemas.openxmlformats.org/officeDocument/2006/relationships/image" Target="../media/image7.emf"/><Relationship Id="rId4" Type="http://schemas.openxmlformats.org/officeDocument/2006/relationships/tags" Target="../tags/tag31.xml"/><Relationship Id="rId9" Type="http://schemas.openxmlformats.org/officeDocument/2006/relationships/image" Target="../media/image6.jpeg"/></Relationships>
</file>

<file path=ppt/slideLayouts/_rels/slideLayout9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5.xml"/><Relationship Id="rId7"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5.emf"/></Relationships>
</file>

<file path=ppt/slideLayouts/_rels/slideLayout9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1.xml"/><Relationship Id="rId7"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5.emf"/></Relationships>
</file>

<file path=ppt/slideLayouts/_rels/slideLayout98.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7.xml"/><Relationship Id="rId7"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5.emf"/></Relationships>
</file>

<file path=ppt/slideLayouts/_rels/slideLayout9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5" Type="http://schemas.openxmlformats.org/officeDocument/2006/relationships/tags" Target="../tags/tag55.xml"/><Relationship Id="rId10" Type="http://schemas.openxmlformats.org/officeDocument/2006/relationships/image" Target="../media/image5.emf"/><Relationship Id="rId4" Type="http://schemas.openxmlformats.org/officeDocument/2006/relationships/tags" Target="../tags/tag54.xml"/><Relationship Id="rId9"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0"/>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4"/>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7"/>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7/15/2024</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7/15/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7/15/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7/15/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1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1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0"/>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4.xml"/><Relationship Id="rId39" Type="http://schemas.openxmlformats.org/officeDocument/2006/relationships/tags" Target="../tags/tag17.xml"/><Relationship Id="rId21" Type="http://schemas.openxmlformats.org/officeDocument/2006/relationships/slideLayout" Target="../slideLayouts/slideLayout114.xml"/><Relationship Id="rId34" Type="http://schemas.openxmlformats.org/officeDocument/2006/relationships/tags" Target="../tags/tag12.xml"/><Relationship Id="rId42" Type="http://schemas.openxmlformats.org/officeDocument/2006/relationships/tags" Target="../tags/tag20.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7.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2.xml"/><Relationship Id="rId32" Type="http://schemas.openxmlformats.org/officeDocument/2006/relationships/tags" Target="../tags/tag10.xml"/><Relationship Id="rId37" Type="http://schemas.openxmlformats.org/officeDocument/2006/relationships/tags" Target="../tags/tag15.xml"/><Relationship Id="rId40" Type="http://schemas.openxmlformats.org/officeDocument/2006/relationships/tags" Target="../tags/tag18.xml"/><Relationship Id="rId45" Type="http://schemas.openxmlformats.org/officeDocument/2006/relationships/image" Target="../media/image4.png"/><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tags" Target="../tags/tag1.xml"/><Relationship Id="rId28" Type="http://schemas.openxmlformats.org/officeDocument/2006/relationships/tags" Target="../tags/tag6.xml"/><Relationship Id="rId36" Type="http://schemas.openxmlformats.org/officeDocument/2006/relationships/tags" Target="../tags/tag14.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9.xml"/><Relationship Id="rId44" Type="http://schemas.openxmlformats.org/officeDocument/2006/relationships/image" Target="../media/image3.emf"/><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tags" Target="../tags/tag13.xml"/><Relationship Id="rId43" Type="http://schemas.openxmlformats.org/officeDocument/2006/relationships/oleObject" Target="../embeddings/oleObject1.bin"/><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3.xml"/><Relationship Id="rId33" Type="http://schemas.openxmlformats.org/officeDocument/2006/relationships/tags" Target="../tags/tag11.xml"/><Relationship Id="rId38" Type="http://schemas.openxmlformats.org/officeDocument/2006/relationships/tags" Target="../tags/tag16.xml"/><Relationship Id="rId20" Type="http://schemas.openxmlformats.org/officeDocument/2006/relationships/slideLayout" Target="../slideLayouts/slideLayout113.xml"/><Relationship Id="rId41" Type="http://schemas.openxmlformats.org/officeDocument/2006/relationships/tags" Target="../tags/tag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5"/>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7/1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1.xml.rels><?xml version="1.0" encoding="UTF-8" standalone="yes"?>
<Relationships xmlns="http://schemas.openxmlformats.org/package/2006/relationships"><Relationship Id="rId3" Type="http://schemas.openxmlformats.org/officeDocument/2006/relationships/hyperlink" Target="https://boeing.rev.vbrick.com/sharevideo/d0b35f75-174c-486f-a1e0-54a1ddc7c292" TargetMode="External"/><Relationship Id="rId7" Type="http://schemas.openxmlformats.org/officeDocument/2006/relationships/hyperlink" Target="https://emc.web.boeing.com/home.aspx#!/semsummary/16819" TargetMode="External"/><Relationship Id="rId2" Type="http://schemas.openxmlformats.org/officeDocument/2006/relationships/hyperlink" Target="https://boeing.rev.vbrick.com/sharevideo/c8bbf55f-4d9f-4edd-84f2-b6a60b483018" TargetMode="External"/><Relationship Id="rId1" Type="http://schemas.openxmlformats.org/officeDocument/2006/relationships/slideLayout" Target="../slideLayouts/slideLayout114.xml"/><Relationship Id="rId6" Type="http://schemas.openxmlformats.org/officeDocument/2006/relationships/hyperlink" Target="https://boeing.rev.vbrick.com/#/videos/a2822e19-9b37-4c90-aef9-f87e7eeb605e" TargetMode="External"/><Relationship Id="rId5" Type="http://schemas.openxmlformats.org/officeDocument/2006/relationships/hyperlink" Target="https://boeing.rev.vbrick.com/sharevideo/6f6a5d37-5825-463c-b074-b31ed73a167d" TargetMode="External"/><Relationship Id="rId4" Type="http://schemas.openxmlformats.org/officeDocument/2006/relationships/hyperlink" Target="https://boeing.rev.vbrick.com/sharevideo/9a7bebb7-3b6f-491e-b762-8c4f1d85d6d3"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chart" Target="../charts/chart1.xml"/><Relationship Id="rId1" Type="http://schemas.openxmlformats.org/officeDocument/2006/relationships/slideLayout" Target="../slideLayouts/slideLayout114.xml"/><Relationship Id="rId6" Type="http://schemas.openxmlformats.org/officeDocument/2006/relationships/image" Target="../media/image24.svg"/><Relationship Id="rId5" Type="http://schemas.openxmlformats.org/officeDocument/2006/relationships/image" Target="../media/image23.png"/><Relationship Id="rId10" Type="http://schemas.openxmlformats.org/officeDocument/2006/relationships/image" Target="../media/image28.svg"/><Relationship Id="rId4" Type="http://schemas.openxmlformats.org/officeDocument/2006/relationships/image" Target="../media/image22.svg"/><Relationship Id="rId9" Type="http://schemas.openxmlformats.org/officeDocument/2006/relationships/image" Target="../media/image27.png"/></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14.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6.xml.rels><?xml version="1.0" encoding="UTF-8" standalone="yes"?>
<Relationships xmlns="http://schemas.openxmlformats.org/package/2006/relationships"><Relationship Id="rId8" Type="http://schemas.openxmlformats.org/officeDocument/2006/relationships/hyperlink" Target="https://learning.oreilly.com/library/view/the-devops-handbook/9781457191381/" TargetMode="External"/><Relationship Id="rId13" Type="http://schemas.openxmlformats.org/officeDocument/2006/relationships/hyperlink" Target="https://mattermost.web.boeing.com/dso/channels/town-square" TargetMode="External"/><Relationship Id="rId18" Type="http://schemas.openxmlformats.org/officeDocument/2006/relationships/hyperlink" Target="https://emc.web.boeing.com/#!/semsummary/11455" TargetMode="External"/><Relationship Id="rId3" Type="http://schemas.openxmlformats.org/officeDocument/2006/relationships/hyperlink" Target="https://devsecops.web.boeing.com/index.html" TargetMode="External"/><Relationship Id="rId7" Type="http://schemas.openxmlformats.org/officeDocument/2006/relationships/hyperlink" Target="https://degreed.com/pathway/mpl66o5r9d/pathway" TargetMode="External"/><Relationship Id="rId12" Type="http://schemas.openxmlformats.org/officeDocument/2006/relationships/hyperlink" Target="https://devsecops.web.boeing.com/assessment/enablementKit.html" TargetMode="External"/><Relationship Id="rId17" Type="http://schemas.openxmlformats.org/officeDocument/2006/relationships/hyperlink" Target="https://emc.web.boeing.com/#!/semsummary/11048" TargetMode="External"/><Relationship Id="rId2" Type="http://schemas.openxmlformats.org/officeDocument/2006/relationships/hyperlink" Target="https://automationcop.web.boeing.com/managerview" TargetMode="External"/><Relationship Id="rId16" Type="http://schemas.openxmlformats.org/officeDocument/2006/relationships/hyperlink" Target="https://insite.web.boeing.com/culture/displayGroupMedia.do?groupId=168061" TargetMode="External"/><Relationship Id="rId1" Type="http://schemas.openxmlformats.org/officeDocument/2006/relationships/slideLayout" Target="../slideLayouts/slideLayout114.xml"/><Relationship Id="rId6" Type="http://schemas.openxmlformats.org/officeDocument/2006/relationships/hyperlink" Target="https://insite.web.boeing.com/culture/viewArticle.do?articleId=816985&amp;groupId=168061" TargetMode="External"/><Relationship Id="rId11" Type="http://schemas.openxmlformats.org/officeDocument/2006/relationships/hyperlink" Target="https://itms.pages.boeing.com/wiki/appdynamics/" TargetMode="External"/><Relationship Id="rId5" Type="http://schemas.openxmlformats.org/officeDocument/2006/relationships/hyperlink" Target="https://insite.web.boeing.com/culture/viewMedia.do?mediaId=428840" TargetMode="External"/><Relationship Id="rId15" Type="http://schemas.openxmlformats.org/officeDocument/2006/relationships/hyperlink" Target="https://insite.web.boeing.com/culture/viewGroup.do?groupId=168061" TargetMode="External"/><Relationship Id="rId10" Type="http://schemas.openxmlformats.org/officeDocument/2006/relationships/hyperlink" Target="https://atoms-ci.web.boeing.com/ci" TargetMode="External"/><Relationship Id="rId4" Type="http://schemas.openxmlformats.org/officeDocument/2006/relationships/hyperlink" Target="https://devsecops.web.boeing.com/trainings.html" TargetMode="External"/><Relationship Id="rId9" Type="http://schemas.openxmlformats.org/officeDocument/2006/relationships/hyperlink" Target="https://atoms.web.boeing.com/home" TargetMode="External"/><Relationship Id="rId14" Type="http://schemas.openxmlformats.org/officeDocument/2006/relationships/hyperlink" Target="mailto:DL-DSOConsulting@exchange.boeing.com"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boeing.service-now.com/sp?id=sc_cat_item&amp;sys_id=6b56695f1bef8c543ddd777e0a4bcb91" TargetMode="External"/><Relationship Id="rId7" Type="http://schemas.openxmlformats.org/officeDocument/2006/relationships/image" Target="../media/image34.wmf"/><Relationship Id="rId2" Type="http://schemas.openxmlformats.org/officeDocument/2006/relationships/notesSlide" Target="../notesSlides/notesSlide3.xml"/><Relationship Id="rId1" Type="http://schemas.openxmlformats.org/officeDocument/2006/relationships/slideLayout" Target="../slideLayouts/slideLayout114.xml"/><Relationship Id="rId6" Type="http://schemas.openxmlformats.org/officeDocument/2006/relationships/oleObject" Target="../embeddings/oleObject19.bin"/><Relationship Id="rId5" Type="http://schemas.openxmlformats.org/officeDocument/2006/relationships/hyperlink" Target="https://icng.apps.boeing.com/Application/UserView?appId=7358467739" TargetMode="External"/><Relationship Id="rId4" Type="http://schemas.openxmlformats.org/officeDocument/2006/relationships/hyperlink" Target="https://boeing.service-now.com/now/nav/ui/classic/params/target/%24pa_dashboard.do%3Fsysparm_dashboard%3D7a28c2f91bf9799c1e62ec22b24bcb70"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4.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slide" Target="slide3.xml"/><Relationship Id="rId1" Type="http://schemas.openxmlformats.org/officeDocument/2006/relationships/slideLayout" Target="../slideLayouts/slideLayout113.xml"/><Relationship Id="rId6" Type="http://schemas.openxmlformats.org/officeDocument/2006/relationships/slide" Target="slide15.xml"/><Relationship Id="rId5" Type="http://schemas.openxmlformats.org/officeDocument/2006/relationships/slide" Target="slide12.xml"/><Relationship Id="rId4" Type="http://schemas.openxmlformats.org/officeDocument/2006/relationships/slide" Target="slide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4.xml.rels><?xml version="1.0" encoding="UTF-8" standalone="yes"?>
<Relationships xmlns="http://schemas.openxmlformats.org/package/2006/relationships"><Relationship Id="rId2" Type="http://schemas.openxmlformats.org/officeDocument/2006/relationships/hyperlink" Target="https://eaas-tableau-production.web.boeing.com/#/site/BIETC/views/DSOAssessment_test_17085880858610/DSOAssessmentDashboard?:iid=1" TargetMode="External"/><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8" Type="http://schemas.openxmlformats.org/officeDocument/2006/relationships/hyperlink" Target="mailto:aathiramanikandan.nair@boeing.com" TargetMode="External"/><Relationship Id="rId13" Type="http://schemas.openxmlformats.org/officeDocument/2006/relationships/hyperlink" Target="mailto:kumar.prabhat@boeing.com" TargetMode="External"/><Relationship Id="rId3" Type="http://schemas.openxmlformats.org/officeDocument/2006/relationships/hyperlink" Target="mailto:abhishek.k.singh@boeing.com" TargetMode="External"/><Relationship Id="rId7" Type="http://schemas.openxmlformats.org/officeDocument/2006/relationships/hyperlink" Target="mailto:priyankadhanpal.chougule@boeing.com" TargetMode="External"/><Relationship Id="rId12" Type="http://schemas.openxmlformats.org/officeDocument/2006/relationships/hyperlink" Target="mailto:ashwini.p@boeing.com" TargetMode="External"/><Relationship Id="rId2" Type="http://schemas.openxmlformats.org/officeDocument/2006/relationships/hyperlink" Target="mailto:chinjumol.radhakrishnan@boeing.com" TargetMode="External"/><Relationship Id="rId1" Type="http://schemas.openxmlformats.org/officeDocument/2006/relationships/slideLayout" Target="../slideLayouts/slideLayout114.xml"/><Relationship Id="rId6" Type="http://schemas.openxmlformats.org/officeDocument/2006/relationships/hyperlink" Target="mailto:sreenivasulu.urimindi@boeing.com" TargetMode="External"/><Relationship Id="rId11" Type="http://schemas.openxmlformats.org/officeDocument/2006/relationships/hyperlink" Target="mailto:mahammedgulam.mohiddinbasha@boeing.com," TargetMode="External"/><Relationship Id="rId5" Type="http://schemas.openxmlformats.org/officeDocument/2006/relationships/hyperlink" Target="mailto:omjikunjbihari.singh@boeing.com" TargetMode="External"/><Relationship Id="rId10" Type="http://schemas.openxmlformats.org/officeDocument/2006/relationships/hyperlink" Target="mailto:bharath.kl@boeing.com" TargetMode="External"/><Relationship Id="rId4" Type="http://schemas.openxmlformats.org/officeDocument/2006/relationships/hyperlink" Target="mailto:ravi.n.jha@boeing.com" TargetMode="External"/><Relationship Id="rId9" Type="http://schemas.openxmlformats.org/officeDocument/2006/relationships/hyperlink" Target="mailto:harmeet.kaur@boeing.com" TargetMode="External"/><Relationship Id="rId14" Type="http://schemas.openxmlformats.org/officeDocument/2006/relationships/hyperlink" Target="mailto:rakesh.rompicherla@boeing.com"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mailto:brendan.a.fink@boeing.com" TargetMode="External"/><Relationship Id="rId3" Type="http://schemas.openxmlformats.org/officeDocument/2006/relationships/hyperlink" Target="mailto:bharath.k.balraj@boeing.com" TargetMode="External"/><Relationship Id="rId7" Type="http://schemas.openxmlformats.org/officeDocument/2006/relationships/hyperlink" Target="mailto:renee.m.jenkins@boeing.com" TargetMode="External"/><Relationship Id="rId2" Type="http://schemas.openxmlformats.org/officeDocument/2006/relationships/hyperlink" Target="mailto:john.popeck@boeing.com" TargetMode="External"/><Relationship Id="rId1" Type="http://schemas.openxmlformats.org/officeDocument/2006/relationships/slideLayout" Target="../slideLayouts/slideLayout114.xml"/><Relationship Id="rId6" Type="http://schemas.openxmlformats.org/officeDocument/2006/relationships/hyperlink" Target="mailto:sarika.hd@boeing.com" TargetMode="External"/><Relationship Id="rId5" Type="http://schemas.openxmlformats.org/officeDocument/2006/relationships/hyperlink" Target="mailto:padmaprasad.rooge@boeing.com" TargetMode="External"/><Relationship Id="rId10" Type="http://schemas.openxmlformats.org/officeDocument/2006/relationships/hyperlink" Target="mailto:jessy.varghese@boeing.com" TargetMode="External"/><Relationship Id="rId4" Type="http://schemas.openxmlformats.org/officeDocument/2006/relationships/hyperlink" Target="mailto:narendran.kandan2@boeing.com" TargetMode="External"/><Relationship Id="rId9" Type="http://schemas.openxmlformats.org/officeDocument/2006/relationships/hyperlink" Target="mailto:lavanya.nadampallikumarraju@boeing.com"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14.xml"/></Relationships>
</file>

<file path=ppt/slides/_rels/slide8.xml.rels><?xml version="1.0" encoding="UTF-8" standalone="yes"?>
<Relationships xmlns="http://schemas.openxmlformats.org/package/2006/relationships"><Relationship Id="rId3" Type="http://schemas.openxmlformats.org/officeDocument/2006/relationships/tags" Target="../tags/tag130.xml"/><Relationship Id="rId7" Type="http://schemas.openxmlformats.org/officeDocument/2006/relationships/image" Target="../media/image20.emf"/><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oleObject" Target="../embeddings/oleObject18.bin"/><Relationship Id="rId5" Type="http://schemas.openxmlformats.org/officeDocument/2006/relationships/notesSlide" Target="../notesSlides/notesSlide2.xml"/><Relationship Id="rId4" Type="http://schemas.openxmlformats.org/officeDocument/2006/relationships/slideLayout" Target="../slideLayouts/slideLayout9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Monthly Report Out - June 2024</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32C10-3416-4002-A53E-C5527AC0793B}"/>
              </a:ext>
            </a:extLst>
          </p:cNvPr>
          <p:cNvSpPr>
            <a:spLocks noGrp="1"/>
          </p:cNvSpPr>
          <p:nvPr>
            <p:ph type="title"/>
          </p:nvPr>
        </p:nvSpPr>
        <p:spPr>
          <a:xfrm>
            <a:off x="4039340" y="2093176"/>
            <a:ext cx="4438835" cy="920336"/>
          </a:xfrm>
        </p:spPr>
        <p:txBody>
          <a:bodyPr/>
          <a:lstStyle/>
          <a:p>
            <a:r>
              <a:rPr lang="en-US" dirty="0"/>
              <a:t>TECHNICAL SESSION</a:t>
            </a:r>
          </a:p>
        </p:txBody>
      </p:sp>
    </p:spTree>
    <p:extLst>
      <p:ext uri="{BB962C8B-B14F-4D97-AF65-F5344CB8AC3E}">
        <p14:creationId xmlns:p14="http://schemas.microsoft.com/office/powerpoint/2010/main" val="2216442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19AE5-487C-45E7-80EC-266A5E8D3DC2}"/>
              </a:ext>
            </a:extLst>
          </p:cNvPr>
          <p:cNvSpPr>
            <a:spLocks noGrp="1"/>
          </p:cNvSpPr>
          <p:nvPr>
            <p:ph type="title"/>
          </p:nvPr>
        </p:nvSpPr>
        <p:spPr>
          <a:xfrm>
            <a:off x="557276" y="0"/>
            <a:ext cx="8702431" cy="555072"/>
          </a:xfrm>
        </p:spPr>
        <p:txBody>
          <a:bodyPr/>
          <a:lstStyle/>
          <a:p>
            <a:r>
              <a:rPr lang="en-US" dirty="0"/>
              <a:t>              Technical Upskill sessions</a:t>
            </a:r>
          </a:p>
        </p:txBody>
      </p:sp>
      <p:sp>
        <p:nvSpPr>
          <p:cNvPr id="3" name="TextBox 2">
            <a:extLst>
              <a:ext uri="{FF2B5EF4-FFF2-40B4-BE49-F238E27FC236}">
                <a16:creationId xmlns:a16="http://schemas.microsoft.com/office/drawing/2014/main" id="{9FA89A40-4793-4A8D-91C5-E40C2186F94C}"/>
              </a:ext>
            </a:extLst>
          </p:cNvPr>
          <p:cNvSpPr txBox="1"/>
          <p:nvPr/>
        </p:nvSpPr>
        <p:spPr>
          <a:xfrm>
            <a:off x="1225118" y="2050742"/>
            <a:ext cx="9685538" cy="316045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graphicFrame>
        <p:nvGraphicFramePr>
          <p:cNvPr id="5" name="Table 4">
            <a:extLst>
              <a:ext uri="{FF2B5EF4-FFF2-40B4-BE49-F238E27FC236}">
                <a16:creationId xmlns:a16="http://schemas.microsoft.com/office/drawing/2014/main" id="{1F71B326-CF97-47C6-927F-79E78ECE7A46}"/>
              </a:ext>
            </a:extLst>
          </p:cNvPr>
          <p:cNvGraphicFramePr>
            <a:graphicFrameLocks noGrp="1"/>
          </p:cNvGraphicFramePr>
          <p:nvPr>
            <p:extLst>
              <p:ext uri="{D42A27DB-BD31-4B8C-83A1-F6EECF244321}">
                <p14:modId xmlns:p14="http://schemas.microsoft.com/office/powerpoint/2010/main" val="3802420244"/>
              </p:ext>
            </p:extLst>
          </p:nvPr>
        </p:nvGraphicFramePr>
        <p:xfrm>
          <a:off x="374905" y="772497"/>
          <a:ext cx="11466576" cy="4789501"/>
        </p:xfrm>
        <a:graphic>
          <a:graphicData uri="http://schemas.openxmlformats.org/drawingml/2006/table">
            <a:tbl>
              <a:tblPr firstRow="1" bandRow="1">
                <a:tableStyleId>{5C22544A-7EE6-4342-B048-85BDC9FD1C3A}</a:tableStyleId>
              </a:tblPr>
              <a:tblGrid>
                <a:gridCol w="1017503">
                  <a:extLst>
                    <a:ext uri="{9D8B030D-6E8A-4147-A177-3AD203B41FA5}">
                      <a16:colId xmlns:a16="http://schemas.microsoft.com/office/drawing/2014/main" val="1494682258"/>
                    </a:ext>
                  </a:extLst>
                </a:gridCol>
                <a:gridCol w="3794438">
                  <a:extLst>
                    <a:ext uri="{9D8B030D-6E8A-4147-A177-3AD203B41FA5}">
                      <a16:colId xmlns:a16="http://schemas.microsoft.com/office/drawing/2014/main" val="3068451420"/>
                    </a:ext>
                  </a:extLst>
                </a:gridCol>
                <a:gridCol w="2145720">
                  <a:extLst>
                    <a:ext uri="{9D8B030D-6E8A-4147-A177-3AD203B41FA5}">
                      <a16:colId xmlns:a16="http://schemas.microsoft.com/office/drawing/2014/main" val="2813001011"/>
                    </a:ext>
                  </a:extLst>
                </a:gridCol>
                <a:gridCol w="2205998">
                  <a:extLst>
                    <a:ext uri="{9D8B030D-6E8A-4147-A177-3AD203B41FA5}">
                      <a16:colId xmlns:a16="http://schemas.microsoft.com/office/drawing/2014/main" val="3399994150"/>
                    </a:ext>
                  </a:extLst>
                </a:gridCol>
                <a:gridCol w="2302917">
                  <a:extLst>
                    <a:ext uri="{9D8B030D-6E8A-4147-A177-3AD203B41FA5}">
                      <a16:colId xmlns:a16="http://schemas.microsoft.com/office/drawing/2014/main" val="433293699"/>
                    </a:ext>
                  </a:extLst>
                </a:gridCol>
              </a:tblGrid>
              <a:tr h="472849">
                <a:tc>
                  <a:txBody>
                    <a:bodyPr/>
                    <a:lstStyle/>
                    <a:p>
                      <a:r>
                        <a:rPr lang="en-US" dirty="0"/>
                        <a:t>No.</a:t>
                      </a:r>
                    </a:p>
                  </a:txBody>
                  <a:tcPr/>
                </a:tc>
                <a:tc>
                  <a:txBody>
                    <a:bodyPr/>
                    <a:lstStyle/>
                    <a:p>
                      <a:r>
                        <a:rPr lang="en-US" dirty="0"/>
                        <a:t>Topic</a:t>
                      </a:r>
                    </a:p>
                  </a:txBody>
                  <a:tcPr/>
                </a:tc>
                <a:tc>
                  <a:txBody>
                    <a:bodyPr/>
                    <a:lstStyle/>
                    <a:p>
                      <a:r>
                        <a:rPr lang="en-US" dirty="0"/>
                        <a:t>Presenter Name</a:t>
                      </a:r>
                    </a:p>
                  </a:txBody>
                  <a:tcPr/>
                </a:tc>
                <a:tc>
                  <a:txBody>
                    <a:bodyPr/>
                    <a:lstStyle/>
                    <a:p>
                      <a:r>
                        <a:rPr lang="en-US" dirty="0"/>
                        <a:t>Date</a:t>
                      </a:r>
                    </a:p>
                  </a:txBody>
                  <a:tcPr/>
                </a:tc>
                <a:tc>
                  <a:txBody>
                    <a:bodyPr/>
                    <a:lstStyle/>
                    <a:p>
                      <a:r>
                        <a:rPr lang="en-US" dirty="0"/>
                        <a:t>Trainings Links</a:t>
                      </a:r>
                    </a:p>
                  </a:txBody>
                  <a:tcPr/>
                </a:tc>
                <a:extLst>
                  <a:ext uri="{0D108BD9-81ED-4DB2-BD59-A6C34878D82A}">
                    <a16:rowId xmlns:a16="http://schemas.microsoft.com/office/drawing/2014/main" val="4151148109"/>
                  </a:ext>
                </a:extLst>
              </a:tr>
              <a:tr h="558126">
                <a:tc>
                  <a:txBody>
                    <a:bodyPr/>
                    <a:lstStyle/>
                    <a:p>
                      <a:r>
                        <a:rPr lang="en-US" dirty="0"/>
                        <a:t>1</a:t>
                      </a:r>
                    </a:p>
                  </a:txBody>
                  <a:tcPr/>
                </a:tc>
                <a:tc>
                  <a:txBody>
                    <a:bodyPr/>
                    <a:lstStyle/>
                    <a:p>
                      <a:r>
                        <a:rPr lang="en-US" dirty="0"/>
                        <a:t>Software Composition Analysis</a:t>
                      </a:r>
                    </a:p>
                  </a:txBody>
                  <a:tcPr/>
                </a:tc>
                <a:tc>
                  <a:txBody>
                    <a:bodyPr/>
                    <a:lstStyle/>
                    <a:p>
                      <a:r>
                        <a:rPr lang="en-US" dirty="0"/>
                        <a:t>Sushil Mishra</a:t>
                      </a:r>
                    </a:p>
                  </a:txBody>
                  <a:tcPr/>
                </a:tc>
                <a:tc>
                  <a:txBody>
                    <a:bodyPr/>
                    <a:lstStyle/>
                    <a:p>
                      <a:r>
                        <a:rPr lang="en-US" sz="1800" kern="1200" dirty="0">
                          <a:solidFill>
                            <a:schemeClr val="dk1"/>
                          </a:solidFill>
                          <a:latin typeface="+mn-lt"/>
                          <a:ea typeface="+mn-ea"/>
                          <a:cs typeface="+mn-cs"/>
                        </a:rPr>
                        <a:t>12</a:t>
                      </a:r>
                      <a:r>
                        <a:rPr lang="en-US" sz="1800" kern="1200" baseline="30000" dirty="0">
                          <a:solidFill>
                            <a:schemeClr val="dk1"/>
                          </a:solidFill>
                          <a:latin typeface="+mn-lt"/>
                          <a:ea typeface="+mn-ea"/>
                          <a:cs typeface="+mn-cs"/>
                        </a:rPr>
                        <a:t>th </a:t>
                      </a:r>
                      <a:r>
                        <a:rPr lang="en-US" dirty="0"/>
                        <a:t>March, 2024</a:t>
                      </a:r>
                    </a:p>
                  </a:txBody>
                  <a:tcPr/>
                </a:tc>
                <a:tc>
                  <a:txBody>
                    <a:bodyPr/>
                    <a:lstStyle/>
                    <a:p>
                      <a:r>
                        <a:rPr lang="en-US" sz="1800" u="sng" kern="1200" dirty="0">
                          <a:solidFill>
                            <a:schemeClr val="dk1"/>
                          </a:solidFill>
                          <a:effectLst/>
                          <a:latin typeface="+mn-lt"/>
                          <a:ea typeface="+mn-ea"/>
                          <a:cs typeface="+mn-cs"/>
                          <a:hlinkClick r:id="rId2"/>
                        </a:rPr>
                        <a:t>Click Here</a:t>
                      </a:r>
                      <a:endParaRPr lang="en-US" dirty="0"/>
                    </a:p>
                  </a:txBody>
                  <a:tcPr/>
                </a:tc>
                <a:extLst>
                  <a:ext uri="{0D108BD9-81ED-4DB2-BD59-A6C34878D82A}">
                    <a16:rowId xmlns:a16="http://schemas.microsoft.com/office/drawing/2014/main" val="2707243196"/>
                  </a:ext>
                </a:extLst>
              </a:tr>
              <a:tr h="558126">
                <a:tc>
                  <a:txBody>
                    <a:bodyPr/>
                    <a:lstStyle/>
                    <a:p>
                      <a:r>
                        <a:rPr lang="en-US" dirty="0"/>
                        <a:t>2</a:t>
                      </a:r>
                    </a:p>
                  </a:txBody>
                  <a:tcPr/>
                </a:tc>
                <a:tc>
                  <a:txBody>
                    <a:bodyPr/>
                    <a:lstStyle/>
                    <a:p>
                      <a:r>
                        <a:rPr lang="en-US" sz="1800" kern="1200" dirty="0">
                          <a:solidFill>
                            <a:schemeClr val="dk1"/>
                          </a:solidFill>
                          <a:effectLst/>
                          <a:latin typeface="+mn-lt"/>
                          <a:ea typeface="+mn-ea"/>
                          <a:cs typeface="+mn-cs"/>
                        </a:rPr>
                        <a:t>Containerization, Dockers and Deployment on Cloud</a:t>
                      </a:r>
                      <a:endParaRPr lang="en-US" dirty="0"/>
                    </a:p>
                  </a:txBody>
                  <a:tcPr/>
                </a:tc>
                <a:tc>
                  <a:txBody>
                    <a:bodyPr/>
                    <a:lstStyle/>
                    <a:p>
                      <a:r>
                        <a:rPr lang="en-US" dirty="0"/>
                        <a:t>Siddharth Muttin</a:t>
                      </a:r>
                    </a:p>
                  </a:txBody>
                  <a:tcPr/>
                </a:tc>
                <a:tc>
                  <a:txBody>
                    <a:bodyPr/>
                    <a:lstStyle/>
                    <a:p>
                      <a:r>
                        <a:rPr lang="en-US" dirty="0"/>
                        <a:t>20</a:t>
                      </a:r>
                      <a:r>
                        <a:rPr lang="en-US" baseline="30000" dirty="0"/>
                        <a:t>th </a:t>
                      </a:r>
                      <a:r>
                        <a:rPr lang="en-US" dirty="0"/>
                        <a:t>March, 2024</a:t>
                      </a:r>
                    </a:p>
                  </a:txBody>
                  <a:tcPr/>
                </a:tc>
                <a:tc>
                  <a:txBody>
                    <a:bodyPr/>
                    <a:lstStyle/>
                    <a:p>
                      <a:r>
                        <a:rPr lang="en-US" sz="1800" u="sng" kern="1200" dirty="0">
                          <a:solidFill>
                            <a:schemeClr val="dk1"/>
                          </a:solidFill>
                          <a:effectLst/>
                          <a:latin typeface="+mn-lt"/>
                          <a:ea typeface="+mn-ea"/>
                          <a:cs typeface="+mn-cs"/>
                          <a:hlinkClick r:id="rId3"/>
                        </a:rPr>
                        <a:t>Click Here</a:t>
                      </a:r>
                      <a:endParaRPr lang="en-US" dirty="0"/>
                    </a:p>
                  </a:txBody>
                  <a:tcPr/>
                </a:tc>
                <a:extLst>
                  <a:ext uri="{0D108BD9-81ED-4DB2-BD59-A6C34878D82A}">
                    <a16:rowId xmlns:a16="http://schemas.microsoft.com/office/drawing/2014/main" val="665149627"/>
                  </a:ext>
                </a:extLst>
              </a:tr>
              <a:tr h="558126">
                <a:tc>
                  <a:txBody>
                    <a:bodyPr/>
                    <a:lstStyle/>
                    <a:p>
                      <a:r>
                        <a:rPr lang="en-US" dirty="0"/>
                        <a:t>3</a:t>
                      </a:r>
                    </a:p>
                  </a:txBody>
                  <a:tcPr/>
                </a:tc>
                <a:tc>
                  <a:txBody>
                    <a:bodyPr/>
                    <a:lstStyle/>
                    <a:p>
                      <a:r>
                        <a:rPr lang="en-US" sz="1800" kern="1200" dirty="0">
                          <a:solidFill>
                            <a:schemeClr val="dk1"/>
                          </a:solidFill>
                          <a:effectLst/>
                          <a:latin typeface="+mn-lt"/>
                          <a:ea typeface="+mn-ea"/>
                          <a:cs typeface="+mn-cs"/>
                        </a:rPr>
                        <a:t>Deploy self-hosted Azure agent on OpenShif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17</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April, 2024</a:t>
                      </a:r>
                      <a:endParaRPr lang="en-US" dirty="0"/>
                    </a:p>
                  </a:txBody>
                  <a:tcPr/>
                </a:tc>
                <a:tc>
                  <a:txBody>
                    <a:bodyPr/>
                    <a:lstStyle/>
                    <a:p>
                      <a:r>
                        <a:rPr lang="en-US" dirty="0">
                          <a:hlinkClick r:id="rId4"/>
                        </a:rPr>
                        <a:t>Click Here</a:t>
                      </a:r>
                      <a:endParaRPr lang="en-US" dirty="0"/>
                    </a:p>
                  </a:txBody>
                  <a:tcPr/>
                </a:tc>
                <a:extLst>
                  <a:ext uri="{0D108BD9-81ED-4DB2-BD59-A6C34878D82A}">
                    <a16:rowId xmlns:a16="http://schemas.microsoft.com/office/drawing/2014/main" val="3328495531"/>
                  </a:ext>
                </a:extLst>
              </a:tr>
              <a:tr h="558126">
                <a:tc>
                  <a:txBody>
                    <a:bodyPr/>
                    <a:lstStyle/>
                    <a:p>
                      <a:r>
                        <a:rPr lang="en-US" dirty="0"/>
                        <a:t>4</a:t>
                      </a:r>
                    </a:p>
                  </a:txBody>
                  <a:tcPr/>
                </a:tc>
                <a:tc>
                  <a:txBody>
                    <a:bodyPr/>
                    <a:lstStyle/>
                    <a:p>
                      <a:r>
                        <a:rPr lang="en-US" sz="1800" kern="1200" dirty="0">
                          <a:solidFill>
                            <a:schemeClr val="dk1"/>
                          </a:solidFill>
                          <a:effectLst/>
                          <a:latin typeface="+mn-lt"/>
                          <a:ea typeface="+mn-ea"/>
                          <a:cs typeface="+mn-cs"/>
                        </a:rPr>
                        <a:t>Deploy Selenium grid on OpenShift for test cases execution</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8</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May, 2024</a:t>
                      </a:r>
                      <a:endParaRPr lang="en-US" dirty="0"/>
                    </a:p>
                  </a:txBody>
                  <a:tcPr/>
                </a:tc>
                <a:tc>
                  <a:txBody>
                    <a:bodyPr/>
                    <a:lstStyle/>
                    <a:p>
                      <a:r>
                        <a:rPr lang="en-US" dirty="0">
                          <a:hlinkClick r:id="rId5"/>
                        </a:rPr>
                        <a:t>Click Here</a:t>
                      </a:r>
                      <a:endParaRPr lang="en-US" dirty="0"/>
                    </a:p>
                  </a:txBody>
                  <a:tcPr/>
                </a:tc>
                <a:extLst>
                  <a:ext uri="{0D108BD9-81ED-4DB2-BD59-A6C34878D82A}">
                    <a16:rowId xmlns:a16="http://schemas.microsoft.com/office/drawing/2014/main" val="3340650181"/>
                  </a:ext>
                </a:extLst>
              </a:tr>
              <a:tr h="558126">
                <a:tc>
                  <a:txBody>
                    <a:bodyPr/>
                    <a:lstStyle/>
                    <a:p>
                      <a:r>
                        <a:rPr lang="en-US" dirty="0"/>
                        <a:t>5</a:t>
                      </a:r>
                    </a:p>
                  </a:txBody>
                  <a:tcPr/>
                </a:tc>
                <a:tc>
                  <a:txBody>
                    <a:bodyPr/>
                    <a:lstStyle/>
                    <a:p>
                      <a:r>
                        <a:rPr lang="en-US" dirty="0"/>
                        <a:t>Learning from </a:t>
                      </a:r>
                      <a:r>
                        <a:rPr lang="en-US" dirty="0" err="1"/>
                        <a:t>DevSecOps</a:t>
                      </a:r>
                      <a:r>
                        <a:rPr lang="en-US" dirty="0"/>
                        <a:t> embedded support</a:t>
                      </a:r>
                    </a:p>
                  </a:txBody>
                  <a:tcPr/>
                </a:tc>
                <a:tc>
                  <a:txBody>
                    <a:bodyPr/>
                    <a:lstStyle/>
                    <a:p>
                      <a:r>
                        <a:rPr lang="en-US" dirty="0" err="1"/>
                        <a:t>DevSecOps</a:t>
                      </a:r>
                      <a:r>
                        <a:rPr lang="en-US" dirty="0"/>
                        <a:t> Team</a:t>
                      </a:r>
                    </a:p>
                  </a:txBody>
                  <a:tcPr/>
                </a:tc>
                <a:tc>
                  <a:txBody>
                    <a:bodyPr/>
                    <a:lstStyle/>
                    <a:p>
                      <a:r>
                        <a:rPr lang="en-US"/>
                        <a:t>20</a:t>
                      </a:r>
                      <a:r>
                        <a:rPr lang="en-US" baseline="30000"/>
                        <a:t>th</a:t>
                      </a:r>
                      <a:r>
                        <a:rPr lang="en-US"/>
                        <a:t> June</a:t>
                      </a:r>
                      <a:r>
                        <a:rPr lang="en-US" dirty="0"/>
                        <a:t>, 202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5"/>
                        </a:rPr>
                        <a:t>Click Her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txBody>
                  <a:tcPr/>
                </a:tc>
                <a:extLst>
                  <a:ext uri="{0D108BD9-81ED-4DB2-BD59-A6C34878D82A}">
                    <a16:rowId xmlns:a16="http://schemas.microsoft.com/office/drawing/2014/main" val="1071271585"/>
                  </a:ext>
                </a:extLst>
              </a:tr>
              <a:tr h="558126">
                <a:tc>
                  <a:txBody>
                    <a:bodyPr/>
                    <a:lstStyle/>
                    <a:p>
                      <a:r>
                        <a:rPr lang="en-US" dirty="0"/>
                        <a:t>6</a:t>
                      </a:r>
                    </a:p>
                  </a:txBody>
                  <a:tcPr/>
                </a:tc>
                <a:tc>
                  <a:txBody>
                    <a:bodyPr/>
                    <a:lstStyle/>
                    <a:p>
                      <a:r>
                        <a:rPr lang="en-US" sz="1800" kern="1200" dirty="0">
                          <a:solidFill>
                            <a:schemeClr val="dk1"/>
                          </a:solidFill>
                          <a:effectLst/>
                          <a:latin typeface="+mn-lt"/>
                          <a:ea typeface="+mn-ea"/>
                          <a:cs typeface="+mn-cs"/>
                        </a:rPr>
                        <a:t>Google Cloud Platform - Overview</a:t>
                      </a:r>
                      <a:endParaRPr lang="en-US" dirty="0"/>
                    </a:p>
                  </a:txBody>
                  <a:tcPr/>
                </a:tc>
                <a:tc>
                  <a:txBody>
                    <a:bodyPr/>
                    <a:lstStyle/>
                    <a:p>
                      <a:r>
                        <a:rPr lang="en-US" sz="1800" kern="1200" dirty="0">
                          <a:solidFill>
                            <a:schemeClr val="dk1"/>
                          </a:solidFill>
                          <a:effectLst/>
                          <a:latin typeface="+mn-lt"/>
                          <a:ea typeface="+mn-ea"/>
                          <a:cs typeface="+mn-cs"/>
                        </a:rPr>
                        <a:t>Anup Pattanaik</a:t>
                      </a:r>
                      <a:endParaRPr lang="en-US" dirty="0"/>
                    </a:p>
                  </a:txBody>
                  <a:tcPr/>
                </a:tc>
                <a:tc>
                  <a:txBody>
                    <a:bodyPr/>
                    <a:lstStyle/>
                    <a:p>
                      <a:r>
                        <a:rPr lang="en-US" dirty="0"/>
                        <a:t>11</a:t>
                      </a:r>
                      <a:r>
                        <a:rPr lang="en-US" baseline="30000" dirty="0"/>
                        <a:t>th</a:t>
                      </a:r>
                      <a:r>
                        <a:rPr lang="en-US" dirty="0"/>
                        <a:t> July, 2024</a:t>
                      </a:r>
                    </a:p>
                  </a:txBody>
                  <a:tcPr/>
                </a:tc>
                <a:tc>
                  <a:txBody>
                    <a:bodyPr/>
                    <a:lstStyle/>
                    <a:p>
                      <a:r>
                        <a:rPr lang="en-US" dirty="0">
                          <a:hlinkClick r:id="rId6"/>
                        </a:rPr>
                        <a:t>Click Here</a:t>
                      </a:r>
                      <a:endParaRPr lang="en-US" dirty="0"/>
                    </a:p>
                  </a:txBody>
                  <a:tcPr/>
                </a:tc>
                <a:extLst>
                  <a:ext uri="{0D108BD9-81ED-4DB2-BD59-A6C34878D82A}">
                    <a16:rowId xmlns:a16="http://schemas.microsoft.com/office/drawing/2014/main" val="2963434569"/>
                  </a:ext>
                </a:extLst>
              </a:tr>
              <a:tr h="558126">
                <a:tc>
                  <a:txBody>
                    <a:bodyPr/>
                    <a:lstStyle/>
                    <a:p>
                      <a:r>
                        <a:rPr lang="en-US" dirty="0"/>
                        <a:t>7</a:t>
                      </a:r>
                    </a:p>
                  </a:txBody>
                  <a:tcPr/>
                </a:tc>
                <a:tc>
                  <a:txBody>
                    <a:bodyPr/>
                    <a:lstStyle/>
                    <a:p>
                      <a:r>
                        <a:rPr lang="en-US" dirty="0"/>
                        <a:t>Google Cloud Platform – Deep  </a:t>
                      </a:r>
                    </a:p>
                    <a:p>
                      <a:r>
                        <a:rPr lang="en-US" dirty="0"/>
                        <a:t>Div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Anup Pattanaik</a:t>
                      </a:r>
                      <a:endParaRPr lang="en-US" dirty="0"/>
                    </a:p>
                    <a:p>
                      <a:endParaRPr lang="en-US" dirty="0"/>
                    </a:p>
                  </a:txBody>
                  <a:tcPr/>
                </a:tc>
                <a:tc>
                  <a:txBody>
                    <a:bodyPr/>
                    <a:lstStyle/>
                    <a:p>
                      <a:r>
                        <a:rPr lang="en-US" dirty="0"/>
                        <a:t>25</a:t>
                      </a:r>
                      <a:r>
                        <a:rPr lang="en-US" baseline="30000" dirty="0"/>
                        <a:t>th</a:t>
                      </a:r>
                      <a:r>
                        <a:rPr lang="en-US" dirty="0"/>
                        <a:t> July, 202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7"/>
                        </a:rPr>
                        <a:t>Enroll Here</a:t>
                      </a:r>
                      <a:endParaRPr lang="en-US" dirty="0"/>
                    </a:p>
                    <a:p>
                      <a:endParaRPr lang="en-US" dirty="0"/>
                    </a:p>
                  </a:txBody>
                  <a:tcPr/>
                </a:tc>
                <a:extLst>
                  <a:ext uri="{0D108BD9-81ED-4DB2-BD59-A6C34878D82A}">
                    <a16:rowId xmlns:a16="http://schemas.microsoft.com/office/drawing/2014/main" val="1939483395"/>
                  </a:ext>
                </a:extLst>
              </a:tr>
            </a:tbl>
          </a:graphicData>
        </a:graphic>
      </p:graphicFrame>
    </p:spTree>
    <p:extLst>
      <p:ext uri="{BB962C8B-B14F-4D97-AF65-F5344CB8AC3E}">
        <p14:creationId xmlns:p14="http://schemas.microsoft.com/office/powerpoint/2010/main" val="31262278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DB11-4340-4F64-980A-B5107FEDE741}"/>
              </a:ext>
            </a:extLst>
          </p:cNvPr>
          <p:cNvSpPr>
            <a:spLocks noGrp="1"/>
          </p:cNvSpPr>
          <p:nvPr>
            <p:ph type="title"/>
          </p:nvPr>
        </p:nvSpPr>
        <p:spPr>
          <a:xfrm>
            <a:off x="2194437" y="2333705"/>
            <a:ext cx="9621520" cy="920336"/>
          </a:xfrm>
        </p:spPr>
        <p:txBody>
          <a:bodyPr/>
          <a:lstStyle/>
          <a:p>
            <a:r>
              <a:rPr lang="en-US" sz="4800" dirty="0"/>
              <a:t>AUTOMATION PROGRESS</a:t>
            </a:r>
          </a:p>
        </p:txBody>
      </p:sp>
    </p:spTree>
    <p:extLst>
      <p:ext uri="{BB962C8B-B14F-4D97-AF65-F5344CB8AC3E}">
        <p14:creationId xmlns:p14="http://schemas.microsoft.com/office/powerpoint/2010/main" val="34392326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440944"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4</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743404" y="1148207"/>
            <a:ext cx="845518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automation capabilities through out the applications and achieve 140000 automation hou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929436"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496007"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88A8D4D6-BE48-44B1-BCF2-ADED1826639D}"/>
              </a:ext>
            </a:extLst>
          </p:cNvPr>
          <p:cNvSpPr txBox="1"/>
          <p:nvPr/>
        </p:nvSpPr>
        <p:spPr>
          <a:xfrm>
            <a:off x="1006755" y="2244435"/>
            <a:ext cx="10945091" cy="36668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A8A01D51-8013-4E94-8032-D8F181E94E81}"/>
              </a:ext>
            </a:extLst>
          </p:cNvPr>
          <p:cNvSpPr txBox="1"/>
          <p:nvPr/>
        </p:nvSpPr>
        <p:spPr>
          <a:xfrm>
            <a:off x="6947248" y="2749713"/>
            <a:ext cx="3956861" cy="590931"/>
          </a:xfrm>
          <a:prstGeom prst="rect">
            <a:avLst/>
          </a:prstGeom>
          <a:noFill/>
          <a:ln>
            <a:solidFill>
              <a:schemeClr val="bg1"/>
            </a:solidFill>
          </a:ln>
        </p:spPr>
        <p:txBody>
          <a:bodyPr wrap="square" rtlCol="0">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Arial"/>
                <a:ea typeface="+mn-ea"/>
                <a:cs typeface="+mn-cs"/>
              </a:rPr>
              <a:t>Automation hours of </a:t>
            </a:r>
            <a:r>
              <a:rPr lang="en-US" altLang="en-US" b="1" kern="0" dirty="0">
                <a:solidFill>
                  <a:srgbClr val="000000"/>
                </a:solidFill>
                <a:latin typeface="Arial"/>
              </a:rPr>
              <a:t>126725</a:t>
            </a:r>
            <a:r>
              <a:rPr kumimoji="0" lang="en-US" altLang="en-US" sz="1800" b="1" i="0" u="none" strike="noStrike" kern="0" cap="none" spc="0" normalizeH="0" baseline="0" noProof="0" dirty="0">
                <a:ln>
                  <a:noFill/>
                </a:ln>
                <a:solidFill>
                  <a:srgbClr val="000000"/>
                </a:solidFill>
                <a:effectLst/>
                <a:uLnTx/>
                <a:uFillTx/>
                <a:latin typeface="Arial"/>
                <a:ea typeface="+mn-ea"/>
                <a:cs typeface="+mn-cs"/>
              </a:rPr>
              <a:t>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Hrs</a:t>
            </a:r>
            <a:r>
              <a:rPr kumimoji="0" lang="en-US" altLang="en-US" sz="1800" b="1" i="0" u="none" strike="noStrike" kern="0" cap="none" spc="0" normalizeH="0" baseline="0" noProof="0" dirty="0">
                <a:ln>
                  <a:noFill/>
                </a:ln>
                <a:solidFill>
                  <a:srgbClr val="000000"/>
                </a:solidFill>
                <a:effectLst/>
                <a:uLnTx/>
                <a:uFillTx/>
                <a:latin typeface="Arial"/>
                <a:ea typeface="+mn-ea"/>
                <a:cs typeface="+mn-cs"/>
              </a:rPr>
              <a:t> has been accounted in the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CoP.</a:t>
            </a:r>
            <a:endParaRPr kumimoji="0" lang="en-US" altLang="en-US" sz="1800" b="1"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12" name="Chart 11">
            <a:extLst>
              <a:ext uri="{FF2B5EF4-FFF2-40B4-BE49-F238E27FC236}">
                <a16:creationId xmlns:a16="http://schemas.microsoft.com/office/drawing/2014/main" id="{A4988160-BA05-4B12-BDFD-4159121924CC}"/>
              </a:ext>
            </a:extLst>
          </p:cNvPr>
          <p:cNvGraphicFramePr/>
          <p:nvPr>
            <p:extLst>
              <p:ext uri="{D42A27DB-BD31-4B8C-83A1-F6EECF244321}">
                <p14:modId xmlns:p14="http://schemas.microsoft.com/office/powerpoint/2010/main" val="3653097600"/>
              </p:ext>
            </p:extLst>
          </p:nvPr>
        </p:nvGraphicFramePr>
        <p:xfrm>
          <a:off x="6163473"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5494"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9584"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301212" y="4786746"/>
            <a:ext cx="3600929"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Knowledge sharing and bring culture of Automation</a:t>
            </a:r>
            <a:endParaRPr kumimoji="0" lang="en-US" altLang="en-US" sz="1800" b="0" i="0" u="none" strike="noStrike" kern="0" cap="none" spc="0" normalizeH="0" baseline="0" noProof="0" dirty="0">
              <a:ln>
                <a:noFill/>
              </a:ln>
              <a:solidFill>
                <a:srgbClr val="0039A6"/>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273687" y="3794061"/>
            <a:ext cx="3628455"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301213" y="2801376"/>
            <a:ext cx="4067858" cy="341632"/>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273688" y="2065137"/>
            <a:ext cx="122341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Objective</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9584"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6040847" y="2051835"/>
            <a:ext cx="223651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Accomplishments</a:t>
            </a:r>
            <a:r>
              <a:rPr kumimoji="0" lang="en-US" altLang="en-US" sz="1800" b="0" i="0" u="none" strike="noStrike" kern="0" cap="none" spc="0" normalizeH="0" baseline="0" noProof="0" dirty="0">
                <a:ln>
                  <a:noFill/>
                </a:ln>
                <a:solidFill>
                  <a:srgbClr val="000000"/>
                </a:solidFill>
                <a:effectLst/>
                <a:uLnTx/>
                <a:uFillTx/>
                <a:latin typeface="Arial"/>
                <a:ea typeface="+mn-ea"/>
                <a:cs typeface="+mn-cs"/>
              </a:rPr>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16244" y="2606039"/>
            <a:ext cx="914400" cy="914400"/>
          </a:xfrm>
          <a:prstGeom prst="rect">
            <a:avLst/>
          </a:prstGeom>
        </p:spPr>
      </p:pic>
    </p:spTree>
    <p:extLst>
      <p:ext uri="{BB962C8B-B14F-4D97-AF65-F5344CB8AC3E}">
        <p14:creationId xmlns:p14="http://schemas.microsoft.com/office/powerpoint/2010/main" val="19310734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a:xfrm>
            <a:off x="515937" y="123084"/>
            <a:ext cx="11150600" cy="547009"/>
          </a:xfrm>
        </p:spPr>
        <p:txBody>
          <a:bodyPr/>
          <a:lstStyle/>
          <a:p>
            <a:r>
              <a:rPr lang="en-US" dirty="0"/>
              <a:t>Automation Status - 2024</a:t>
            </a:r>
          </a:p>
        </p:txBody>
      </p:sp>
      <p:cxnSp>
        <p:nvCxnSpPr>
          <p:cNvPr id="14" name="Straight Connector 13">
            <a:extLst>
              <a:ext uri="{FF2B5EF4-FFF2-40B4-BE49-F238E27FC236}">
                <a16:creationId xmlns:a16="http://schemas.microsoft.com/office/drawing/2014/main" id="{5061B6D2-F291-4437-A703-6B0B41CD3C41}"/>
              </a:ext>
            </a:extLst>
          </p:cNvPr>
          <p:cNvCxnSpPr>
            <a:cxnSpLocks/>
          </p:cNvCxnSpPr>
          <p:nvPr/>
        </p:nvCxnSpPr>
        <p:spPr>
          <a:xfrm>
            <a:off x="1477818" y="2594765"/>
            <a:ext cx="92454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529867A-3642-4441-89EC-B95460326E49}"/>
              </a:ext>
            </a:extLst>
          </p:cNvPr>
          <p:cNvCxnSpPr>
            <a:cxnSpLocks/>
          </p:cNvCxnSpPr>
          <p:nvPr/>
        </p:nvCxnSpPr>
        <p:spPr>
          <a:xfrm>
            <a:off x="1477818"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9DD4046-7C83-458D-896C-E2D4DB82F4A3}"/>
              </a:ext>
            </a:extLst>
          </p:cNvPr>
          <p:cNvCxnSpPr>
            <a:cxnSpLocks/>
          </p:cNvCxnSpPr>
          <p:nvPr/>
        </p:nvCxnSpPr>
        <p:spPr>
          <a:xfrm>
            <a:off x="4569489" y="2585529"/>
            <a:ext cx="0" cy="417943"/>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0326CCD-435E-42BA-9F8A-8DD403FA1BBA}"/>
              </a:ext>
            </a:extLst>
          </p:cNvPr>
          <p:cNvCxnSpPr>
            <a:cxnSpLocks/>
          </p:cNvCxnSpPr>
          <p:nvPr/>
        </p:nvCxnSpPr>
        <p:spPr>
          <a:xfrm>
            <a:off x="7485866" y="2585529"/>
            <a:ext cx="0" cy="41794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F588D0E-B9F5-43E8-8D52-353A4F0EFC6E}"/>
              </a:ext>
            </a:extLst>
          </p:cNvPr>
          <p:cNvCxnSpPr/>
          <p:nvPr/>
        </p:nvCxnSpPr>
        <p:spPr>
          <a:xfrm>
            <a:off x="10723274"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8CF496-0222-4757-8EC6-BE43388FDACC}"/>
              </a:ext>
            </a:extLst>
          </p:cNvPr>
          <p:cNvCxnSpPr>
            <a:cxnSpLocks/>
          </p:cNvCxnSpPr>
          <p:nvPr/>
        </p:nvCxnSpPr>
        <p:spPr>
          <a:xfrm>
            <a:off x="6096001" y="2309688"/>
            <a:ext cx="0" cy="2758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DB200D-F2DB-45E9-905C-F307303A1E96}"/>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a:ea typeface="+mn-ea"/>
                <a:cs typeface="+mn-cs"/>
              </a:rPr>
              <a:t>Target: 140k </a:t>
            </a:r>
            <a:r>
              <a:rPr kumimoji="0" lang="en-US" sz="1200" b="1" i="0" u="none" strike="noStrike" kern="1200" cap="none" spc="0" normalizeH="0" baseline="0" noProof="0" dirty="0" err="1">
                <a:ln>
                  <a:noFill/>
                </a:ln>
                <a:solidFill>
                  <a:srgbClr val="0070C0"/>
                </a:solidFill>
                <a:effectLst/>
                <a:uLnTx/>
                <a:uFillTx/>
                <a:latin typeface="Arial"/>
                <a:ea typeface="+mn-ea"/>
                <a:cs typeface="+mn-cs"/>
              </a:rPr>
              <a:t>hrs</a:t>
            </a:r>
            <a:endParaRPr kumimoji="0" lang="en-US" sz="1200" b="1" i="0" u="none" strike="noStrike" kern="1200" cap="none" spc="0" normalizeH="0" baseline="0" noProof="0" dirty="0">
              <a:ln>
                <a:noFill/>
              </a:ln>
              <a:solidFill>
                <a:srgbClr val="0070C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a:ea typeface="+mn-ea"/>
                <a:cs typeface="+mn-cs"/>
              </a:rPr>
              <a:t>Current status: </a:t>
            </a:r>
            <a:r>
              <a:rPr lang="en-US" sz="1200" b="1" dirty="0">
                <a:solidFill>
                  <a:srgbClr val="00B050"/>
                </a:solidFill>
                <a:latin typeface="Arial"/>
              </a:rPr>
              <a:t>126.7</a:t>
            </a:r>
            <a:r>
              <a:rPr kumimoji="0" lang="en-US" sz="1200" b="1" i="0" u="none" strike="noStrike" kern="1200" cap="none" spc="0" normalizeH="0" baseline="0" noProof="0" dirty="0">
                <a:ln>
                  <a:noFill/>
                </a:ln>
                <a:solidFill>
                  <a:srgbClr val="00B050"/>
                </a:solidFill>
                <a:effectLst/>
                <a:uLnTx/>
                <a:uFillTx/>
                <a:latin typeface="Arial"/>
                <a:ea typeface="+mn-ea"/>
                <a:cs typeface="+mn-cs"/>
              </a:rPr>
              <a:t>k </a:t>
            </a:r>
            <a:r>
              <a:rPr kumimoji="0" lang="en-US" sz="1200" b="1" i="0" u="none" strike="noStrike" kern="1200" cap="none" spc="0" normalizeH="0" baseline="0" noProof="0" dirty="0" err="1">
                <a:ln>
                  <a:noFill/>
                </a:ln>
                <a:solidFill>
                  <a:srgbClr val="00B050"/>
                </a:solidFill>
                <a:effectLst/>
                <a:uLnTx/>
                <a:uFillTx/>
                <a:latin typeface="Arial"/>
                <a:ea typeface="+mn-ea"/>
                <a:cs typeface="+mn-cs"/>
              </a:rPr>
              <a:t>hrs</a:t>
            </a:r>
            <a:endParaRPr kumimoji="0" lang="en-US" sz="1200" b="1" i="0" u="none" strike="noStrike" kern="1200" cap="none" spc="0" normalizeH="0" baseline="0" noProof="0" dirty="0">
              <a:ln>
                <a:noFill/>
              </a:ln>
              <a:solidFill>
                <a:srgbClr val="00B05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FB76C4DB-2A3B-4A0E-BBD8-413FE93DCBCD}"/>
              </a:ext>
            </a:extLst>
          </p:cNvPr>
          <p:cNvPicPr>
            <a:picLocks noChangeAspect="1"/>
          </p:cNvPicPr>
          <p:nvPr/>
        </p:nvPicPr>
        <p:blipFill rotWithShape="1">
          <a:blip r:embed="rId2"/>
          <a:srcRect b="59222"/>
          <a:stretch/>
        </p:blipFill>
        <p:spPr>
          <a:xfrm>
            <a:off x="4346666" y="658391"/>
            <a:ext cx="3489142" cy="1234953"/>
          </a:xfrm>
          <a:prstGeom prst="rect">
            <a:avLst/>
          </a:prstGeom>
          <a:ln w="19050">
            <a:solidFill>
              <a:srgbClr val="002060"/>
            </a:solidFill>
          </a:ln>
        </p:spPr>
      </p:pic>
      <p:sp>
        <p:nvSpPr>
          <p:cNvPr id="4" name="Rectangle 3">
            <a:extLst>
              <a:ext uri="{FF2B5EF4-FFF2-40B4-BE49-F238E27FC236}">
                <a16:creationId xmlns:a16="http://schemas.microsoft.com/office/drawing/2014/main" id="{8B207384-89EB-47F0-A512-D40E1077904A}"/>
              </a:ext>
            </a:extLst>
          </p:cNvPr>
          <p:cNvSpPr/>
          <p:nvPr/>
        </p:nvSpPr>
        <p:spPr>
          <a:xfrm>
            <a:off x="4335908" y="1893345"/>
            <a:ext cx="3499900" cy="416342"/>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45FECD5D-10D5-49A2-A657-E4C70283B1C2}"/>
              </a:ext>
            </a:extLst>
          </p:cNvPr>
          <p:cNvSpPr txBox="1"/>
          <p:nvPr/>
        </p:nvSpPr>
        <p:spPr>
          <a:xfrm>
            <a:off x="5164142" y="1991693"/>
            <a:ext cx="2108489" cy="4163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Total : </a:t>
            </a:r>
            <a:r>
              <a:rPr kumimoji="0" lang="en-US" altLang="en-US" sz="1600" b="1" i="0" u="none" strike="noStrike" kern="0" cap="none" spc="0" normalizeH="0" baseline="0" noProof="0" dirty="0">
                <a:ln>
                  <a:noFill/>
                </a:ln>
                <a:solidFill>
                  <a:srgbClr val="000000"/>
                </a:solidFill>
                <a:effectLst/>
                <a:uLnTx/>
                <a:uFillTx/>
                <a:latin typeface="Arial"/>
                <a:ea typeface="+mn-ea"/>
                <a:cs typeface="+mn-cs"/>
              </a:rPr>
              <a:t>126725</a:t>
            </a:r>
            <a:r>
              <a:rPr kumimoji="0" lang="en-US" sz="1600" b="0" i="0" u="none" strike="noStrike" kern="1200" cap="none" spc="0" normalizeH="0" baseline="0" noProof="0" dirty="0">
                <a:ln>
                  <a:noFill/>
                </a:ln>
                <a:solidFill>
                  <a:srgbClr val="000000"/>
                </a:solidFill>
                <a:effectLst/>
                <a:uLnTx/>
                <a:uFillTx/>
                <a:latin typeface="Arial"/>
                <a:ea typeface="+mn-ea"/>
                <a:cs typeface="+mn-cs"/>
              </a:rPr>
              <a:t> hours </a:t>
            </a:r>
          </a:p>
        </p:txBody>
      </p:sp>
      <p:sp>
        <p:nvSpPr>
          <p:cNvPr id="8" name="TextBox 7">
            <a:extLst>
              <a:ext uri="{FF2B5EF4-FFF2-40B4-BE49-F238E27FC236}">
                <a16:creationId xmlns:a16="http://schemas.microsoft.com/office/drawing/2014/main" id="{A7E05C88-C479-419D-B5BE-E15459D0FF51}"/>
              </a:ext>
            </a:extLst>
          </p:cNvPr>
          <p:cNvSpPr txBox="1"/>
          <p:nvPr/>
        </p:nvSpPr>
        <p:spPr>
          <a:xfrm>
            <a:off x="9356436" y="3759200"/>
            <a:ext cx="1424148" cy="193964"/>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3" name="Picture 12">
            <a:extLst>
              <a:ext uri="{FF2B5EF4-FFF2-40B4-BE49-F238E27FC236}">
                <a16:creationId xmlns:a16="http://schemas.microsoft.com/office/drawing/2014/main" id="{0EEEA618-ED94-4190-8D9E-80CED3952024}"/>
              </a:ext>
            </a:extLst>
          </p:cNvPr>
          <p:cNvPicPr>
            <a:picLocks noChangeAspect="1"/>
          </p:cNvPicPr>
          <p:nvPr/>
        </p:nvPicPr>
        <p:blipFill>
          <a:blip r:embed="rId3"/>
          <a:stretch>
            <a:fillRect/>
          </a:stretch>
        </p:blipFill>
        <p:spPr>
          <a:xfrm>
            <a:off x="326503" y="3012708"/>
            <a:ext cx="2582952" cy="2609952"/>
          </a:xfrm>
          <a:prstGeom prst="rect">
            <a:avLst/>
          </a:prstGeom>
          <a:ln w="19050">
            <a:solidFill>
              <a:srgbClr val="92D050"/>
            </a:solidFill>
          </a:ln>
        </p:spPr>
      </p:pic>
      <p:pic>
        <p:nvPicPr>
          <p:cNvPr id="15" name="Picture 14">
            <a:extLst>
              <a:ext uri="{FF2B5EF4-FFF2-40B4-BE49-F238E27FC236}">
                <a16:creationId xmlns:a16="http://schemas.microsoft.com/office/drawing/2014/main" id="{0C3C9F25-23B5-4CE4-8B39-B544020138D1}"/>
              </a:ext>
            </a:extLst>
          </p:cNvPr>
          <p:cNvPicPr>
            <a:picLocks noChangeAspect="1"/>
          </p:cNvPicPr>
          <p:nvPr/>
        </p:nvPicPr>
        <p:blipFill>
          <a:blip r:embed="rId4"/>
          <a:stretch>
            <a:fillRect/>
          </a:stretch>
        </p:blipFill>
        <p:spPr>
          <a:xfrm>
            <a:off x="3253094" y="3032345"/>
            <a:ext cx="2671739" cy="2600713"/>
          </a:xfrm>
          <a:prstGeom prst="rect">
            <a:avLst/>
          </a:prstGeom>
          <a:ln w="19050">
            <a:solidFill>
              <a:srgbClr val="92D050"/>
            </a:solidFill>
          </a:ln>
        </p:spPr>
      </p:pic>
      <p:pic>
        <p:nvPicPr>
          <p:cNvPr id="7" name="Picture 6">
            <a:extLst>
              <a:ext uri="{FF2B5EF4-FFF2-40B4-BE49-F238E27FC236}">
                <a16:creationId xmlns:a16="http://schemas.microsoft.com/office/drawing/2014/main" id="{C6B40912-B7C8-E7A4-042B-8D3580819C19}"/>
              </a:ext>
            </a:extLst>
          </p:cNvPr>
          <p:cNvPicPr>
            <a:picLocks noChangeAspect="1"/>
          </p:cNvPicPr>
          <p:nvPr/>
        </p:nvPicPr>
        <p:blipFill>
          <a:blip r:embed="rId5"/>
          <a:stretch>
            <a:fillRect/>
          </a:stretch>
        </p:blipFill>
        <p:spPr>
          <a:xfrm>
            <a:off x="6337657" y="3022133"/>
            <a:ext cx="2452493" cy="2618676"/>
          </a:xfrm>
          <a:prstGeom prst="rect">
            <a:avLst/>
          </a:prstGeom>
          <a:ln w="19050">
            <a:solidFill>
              <a:srgbClr val="92D050"/>
            </a:solidFill>
          </a:ln>
        </p:spPr>
      </p:pic>
      <p:pic>
        <p:nvPicPr>
          <p:cNvPr id="10" name="Picture 9">
            <a:extLst>
              <a:ext uri="{FF2B5EF4-FFF2-40B4-BE49-F238E27FC236}">
                <a16:creationId xmlns:a16="http://schemas.microsoft.com/office/drawing/2014/main" id="{D69AC9C7-32AC-784F-FF90-32D75FE424A7}"/>
              </a:ext>
            </a:extLst>
          </p:cNvPr>
          <p:cNvPicPr>
            <a:picLocks noChangeAspect="1"/>
          </p:cNvPicPr>
          <p:nvPr/>
        </p:nvPicPr>
        <p:blipFill>
          <a:blip r:embed="rId6"/>
          <a:stretch>
            <a:fillRect/>
          </a:stretch>
        </p:blipFill>
        <p:spPr>
          <a:xfrm>
            <a:off x="9202974" y="3022134"/>
            <a:ext cx="2534930" cy="2618676"/>
          </a:xfrm>
          <a:prstGeom prst="rect">
            <a:avLst/>
          </a:prstGeom>
          <a:ln w="19050">
            <a:solidFill>
              <a:srgbClr val="92D050"/>
            </a:solidFill>
          </a:ln>
        </p:spPr>
      </p:pic>
    </p:spTree>
    <p:extLst>
      <p:ext uri="{BB962C8B-B14F-4D97-AF65-F5344CB8AC3E}">
        <p14:creationId xmlns:p14="http://schemas.microsoft.com/office/powerpoint/2010/main" val="39533718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36210058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                          Training and support</a:t>
            </a:r>
          </a:p>
        </p:txBody>
      </p:sp>
      <p:sp>
        <p:nvSpPr>
          <p:cNvPr id="4" name="Rectangle 3">
            <a:extLst>
              <a:ext uri="{FF2B5EF4-FFF2-40B4-BE49-F238E27FC236}">
                <a16:creationId xmlns:a16="http://schemas.microsoft.com/office/drawing/2014/main" id="{0902F806-9094-4E6A-B4CF-AE85465B7FBE}"/>
              </a:ext>
            </a:extLst>
          </p:cNvPr>
          <p:cNvSpPr/>
          <p:nvPr/>
        </p:nvSpPr>
        <p:spPr>
          <a:xfrm>
            <a:off x="192765" y="687634"/>
            <a:ext cx="12286036" cy="2031325"/>
          </a:xfrm>
          <a:prstGeom prst="rect">
            <a:avLst/>
          </a:prstGeom>
        </p:spPr>
        <p:txBody>
          <a:bodyPr wrap="square">
            <a:spAutoFit/>
          </a:bodyPr>
          <a:lstStyle/>
          <a:p>
            <a:r>
              <a:rPr lang="en-US" sz="1400" dirty="0">
                <a:hlinkClick r:id="rId2"/>
              </a:rPr>
              <a:t>Automation COP </a:t>
            </a:r>
            <a:endParaRPr lang="en-US" sz="1400" dirty="0"/>
          </a:p>
          <a:p>
            <a:r>
              <a:rPr lang="en-US" sz="1400" u="sng" dirty="0">
                <a:hlinkClick r:id="rId3"/>
              </a:rPr>
              <a:t>https://devsecops.web.boeing.com/index.html</a:t>
            </a:r>
            <a:r>
              <a:rPr lang="en-US" sz="1400" dirty="0"/>
              <a:t>  [</a:t>
            </a:r>
            <a:r>
              <a:rPr lang="en-US" sz="1400" b="1" dirty="0"/>
              <a:t>DevSecOps Enterprise Website</a:t>
            </a:r>
            <a:r>
              <a:rPr lang="en-US" sz="1400" dirty="0"/>
              <a:t>]</a:t>
            </a:r>
            <a:endParaRPr lang="en-US" sz="1400" dirty="0">
              <a:latin typeface="Times New Roman" panose="02020603050405020304" pitchFamily="18" charset="0"/>
              <a:ea typeface="Calibri" panose="020F0502020204030204" pitchFamily="34" charset="0"/>
            </a:endParaRP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        </a:t>
            </a: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T</a:t>
            </a:r>
            <a:r>
              <a:rPr lang="en-US" sz="1400" b="1" u="sng" dirty="0">
                <a:solidFill>
                  <a:srgbClr val="ED7D31"/>
                </a:solidFill>
                <a:latin typeface="Calibri" panose="020F0502020204030204" pitchFamily="34" charset="0"/>
                <a:ea typeface="Times New Roman" panose="02020603050405020304" pitchFamily="18" charset="0"/>
              </a:rPr>
              <a:t>raining:</a:t>
            </a:r>
            <a:endParaRPr lang="en-US" sz="1400" dirty="0">
              <a:solidFill>
                <a:srgbClr val="ED7D31"/>
              </a:solidFill>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hlinkClick r:id="rId4"/>
              </a:rPr>
              <a:t>https://devsecops.web.boeing.com/trainings.html </a:t>
            </a:r>
            <a:endParaRPr lang="en-US" sz="1400" u="sng" dirty="0">
              <a:solidFill>
                <a:srgbClr val="0563C1"/>
              </a:solidFill>
              <a:latin typeface="Calibri" panose="020F0502020204030204" pitchFamily="34" charset="0"/>
              <a:ea typeface="Calibri" panose="020F0502020204030204" pitchFamily="34" charset="0"/>
            </a:endParaRPr>
          </a:p>
          <a:p>
            <a:pPr marL="457200"/>
            <a:r>
              <a:rPr lang="en-US" sz="1400" u="sng" dirty="0">
                <a:solidFill>
                  <a:srgbClr val="0070C0"/>
                </a:solidFill>
                <a:latin typeface="Calibri" panose="020F0502020204030204" pitchFamily="34" charset="0"/>
                <a:ea typeface="Calibri" panose="020F0502020204030204" pitchFamily="34" charset="0"/>
                <a:hlinkClick r:id="rId5"/>
              </a:rPr>
              <a:t>https://insite.web.boeing.com/culture/viewMedia.do?mediaId=428840</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Insite: </a:t>
            </a:r>
            <a:r>
              <a:rPr lang="en-US" sz="1400" u="sng" dirty="0">
                <a:solidFill>
                  <a:srgbClr val="0563C1"/>
                </a:solidFill>
                <a:latin typeface="Calibri" panose="020F0502020204030204" pitchFamily="34" charset="0"/>
                <a:ea typeface="Calibri" panose="020F0502020204030204" pitchFamily="34" charset="0"/>
                <a:hlinkClick r:id="rId6"/>
              </a:rPr>
              <a:t>DevSecOps related video series</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Degreed: </a:t>
            </a:r>
            <a:r>
              <a:rPr lang="en-US" sz="1400" u="sng" dirty="0">
                <a:solidFill>
                  <a:srgbClr val="0563C1"/>
                </a:solidFill>
                <a:latin typeface="Calibri" panose="020F0502020204030204" pitchFamily="34" charset="0"/>
                <a:ea typeface="Calibri" panose="020F0502020204030204" pitchFamily="34" charset="0"/>
                <a:hlinkClick r:id="rId7"/>
              </a:rPr>
              <a:t>https://degreed.com/pathway/mpl66o5r9d/pathway</a:t>
            </a:r>
            <a:endParaRPr lang="en-US" sz="1400" dirty="0">
              <a:latin typeface="Calibri" panose="020F0502020204030204" pitchFamily="34" charset="0"/>
              <a:ea typeface="Calibri" panose="020F0502020204030204" pitchFamily="34" charset="0"/>
            </a:endParaRPr>
          </a:p>
          <a:p>
            <a:pPr marL="457200" marR="0"/>
            <a:r>
              <a:rPr lang="en-US" sz="1400" u="sng" dirty="0" err="1">
                <a:solidFill>
                  <a:srgbClr val="0563C1"/>
                </a:solidFill>
                <a:latin typeface="Calibri" panose="020F0502020204030204" pitchFamily="34" charset="0"/>
                <a:ea typeface="Calibri" panose="020F0502020204030204" pitchFamily="34" charset="0"/>
              </a:rPr>
              <a:t>Oreilly</a:t>
            </a:r>
            <a:r>
              <a:rPr lang="en-US" sz="1400" u="sng" dirty="0">
                <a:solidFill>
                  <a:srgbClr val="0563C1"/>
                </a:solidFill>
                <a:latin typeface="Calibri" panose="020F0502020204030204" pitchFamily="34" charset="0"/>
                <a:ea typeface="Calibri" panose="020F0502020204030204" pitchFamily="34" charset="0"/>
              </a:rPr>
              <a:t>: </a:t>
            </a:r>
            <a:r>
              <a:rPr lang="en-US" sz="1400" u="sng" dirty="0">
                <a:solidFill>
                  <a:srgbClr val="0563C1"/>
                </a:solidFill>
                <a:latin typeface="Calibri" panose="020F0502020204030204" pitchFamily="34" charset="0"/>
                <a:ea typeface="Calibri" panose="020F0502020204030204" pitchFamily="34" charset="0"/>
                <a:hlinkClick r:id="rId8"/>
              </a:rPr>
              <a:t>https://learning.oreilly.com/library/view/the-devops-handbook/9781457191381/</a:t>
            </a:r>
            <a:endParaRPr lang="en-US" sz="1400" dirty="0">
              <a:solidFill>
                <a:srgbClr val="002060"/>
              </a:solidFill>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nvGraphicFramePr>
        <p:xfrm>
          <a:off x="260859" y="3845614"/>
          <a:ext cx="10573593" cy="2508910"/>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Coverity, Netsparker,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Saves your team time by generating an automated continuous integration pipeline and integrating different tools</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214035">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Official DevSecOps websit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3"/>
                        </a:rPr>
                        <a:t>https://devsecops.web.boeing.com/index.htm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Monitoring tool docu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1"/>
                        </a:rPr>
                        <a:t>https://itms.pages.boeing.com/wiki/appdynamics/</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6"/>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
        <p:nvSpPr>
          <p:cNvPr id="3" name="Rectangle 2">
            <a:extLst>
              <a:ext uri="{FF2B5EF4-FFF2-40B4-BE49-F238E27FC236}">
                <a16:creationId xmlns:a16="http://schemas.microsoft.com/office/drawing/2014/main" id="{9EF24625-22BA-4838-B7EC-C69C8B35F6F8}"/>
              </a:ext>
            </a:extLst>
          </p:cNvPr>
          <p:cNvSpPr/>
          <p:nvPr/>
        </p:nvSpPr>
        <p:spPr>
          <a:xfrm>
            <a:off x="-298316" y="2769195"/>
            <a:ext cx="12286036" cy="954107"/>
          </a:xfrm>
          <a:prstGeom prst="rect">
            <a:avLst/>
          </a:prstGeom>
        </p:spPr>
        <p:txBody>
          <a:bodyPr wrap="square">
            <a:spAutoFit/>
          </a:bodyPr>
          <a:lstStyle/>
          <a:p>
            <a:pPr marL="457200" marR="0"/>
            <a:r>
              <a:rPr lang="en-US" sz="1400" b="1" u="sng" dirty="0">
                <a:solidFill>
                  <a:srgbClr val="ED7D31"/>
                </a:solidFill>
                <a:latin typeface="Calibri" panose="020F0502020204030204" pitchFamily="34" charset="0"/>
              </a:rPr>
              <a:t>Enterprise Support</a:t>
            </a: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400" u="sng" dirty="0">
                <a:solidFill>
                  <a:srgbClr val="0070C0"/>
                </a:solidFill>
                <a:latin typeface="Calibri" panose="020F0502020204030204" pitchFamily="34" charset="0"/>
                <a:ea typeface="Calibri" panose="020F0502020204030204" pitchFamily="34" charset="0"/>
                <a:hlinkClick r:id="rId17"/>
              </a:rPr>
              <a:t>EMC</a:t>
            </a:r>
            <a:r>
              <a:rPr lang="en-US" sz="1400" u="sng" dirty="0">
                <a:solidFill>
                  <a:srgbClr val="0070C0"/>
                </a:solidFill>
                <a:latin typeface="Calibri" panose="020F0502020204030204" pitchFamily="34" charset="0"/>
                <a:ea typeface="Calibri" panose="020F0502020204030204" pitchFamily="34" charset="0"/>
              </a:rPr>
              <a:t> </a:t>
            </a:r>
            <a:r>
              <a:rPr lang="en-US" sz="1400" u="sng" dirty="0">
                <a:solidFill>
                  <a:srgbClr val="002060"/>
                </a:solidFill>
                <a:latin typeface="Calibri" panose="020F0502020204030204" pitchFamily="34" charset="0"/>
                <a:ea typeface="Calibri" panose="020F0502020204030204" pitchFamily="34" charset="0"/>
              </a:rPr>
              <a:t>(check for the session with the name “DevSecOps Office Hours (India)”).</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US, </a:t>
            </a:r>
            <a:r>
              <a:rPr lang="en-US" sz="1400" u="sng" dirty="0">
                <a:solidFill>
                  <a:srgbClr val="0070C0"/>
                </a:solidFill>
                <a:latin typeface="Calibri" panose="020F0502020204030204" pitchFamily="34" charset="0"/>
                <a:ea typeface="Calibri" panose="020F0502020204030204" pitchFamily="34" charset="0"/>
                <a:hlinkClick r:id="rId18"/>
              </a:rPr>
              <a:t>Click </a:t>
            </a:r>
            <a:r>
              <a:rPr lang="en-US" sz="1400" u="sng" dirty="0">
                <a:solidFill>
                  <a:srgbClr val="000000"/>
                </a:solidFill>
                <a:latin typeface="Calibri" panose="020F0502020204030204" pitchFamily="34" charset="0"/>
                <a:ea typeface="Calibri" panose="020F0502020204030204" pitchFamily="34" charset="0"/>
                <a:hlinkClick r:id="rId18"/>
              </a:rPr>
              <a:t>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India, </a:t>
            </a:r>
            <a:r>
              <a:rPr lang="en-US" sz="1400" u="sng" dirty="0">
                <a:solidFill>
                  <a:srgbClr val="0070C0"/>
                </a:solidFill>
                <a:latin typeface="Calibri" panose="020F0502020204030204" pitchFamily="34" charset="0"/>
                <a:ea typeface="Calibri" panose="020F0502020204030204" pitchFamily="34" charset="0"/>
                <a:hlinkClick r:id="rId17"/>
              </a:rPr>
              <a:t>Click</a:t>
            </a:r>
            <a:r>
              <a:rPr lang="en-US" sz="1400" u="sng" dirty="0">
                <a:solidFill>
                  <a:srgbClr val="000000"/>
                </a:solidFill>
                <a:latin typeface="Calibri" panose="020F0502020204030204" pitchFamily="34" charset="0"/>
                <a:ea typeface="Calibri" panose="020F0502020204030204" pitchFamily="34" charset="0"/>
                <a:hlinkClick r:id="rId17"/>
              </a:rPr>
              <a:t> 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1455948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6232475"/>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3"/>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4"/>
              </a:rPr>
              <a:t>Dashboard Link </a:t>
            </a:r>
            <a:r>
              <a:rPr lang="en-US" dirty="0">
                <a:solidFill>
                  <a:srgbClr val="1F497D"/>
                </a:solidFill>
                <a:latin typeface="Calibri" panose="020F0502020204030204" pitchFamily="34" charset="0"/>
                <a:ea typeface="Calibri" panose="020F0502020204030204" pitchFamily="34" charset="0"/>
              </a:rPr>
              <a:t>after few minutes.</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Info center Dashboard </a:t>
            </a:r>
            <a:r>
              <a:rPr lang="en-US" b="1" dirty="0">
                <a:solidFill>
                  <a:srgbClr val="1F497D"/>
                </a:solidFill>
                <a:latin typeface="Calibri" panose="020F0502020204030204" pitchFamily="34" charset="0"/>
                <a:ea typeface="Calibri" panose="020F0502020204030204" pitchFamily="34" charset="0"/>
                <a:hlinkClick r:id="rId5"/>
              </a:rPr>
              <a:t>Link</a:t>
            </a:r>
            <a:endParaRPr lang="en-US" b="1"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dirty="0">
                <a:solidFill>
                  <a:schemeClr val="accent1">
                    <a:lumMod val="50000"/>
                  </a:schemeClr>
                </a:solidFill>
              </a:rPr>
              <a:t>Refer attached excel for pending reassessments and assessments. </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nvGraphicFramePr>
        <p:xfrm>
          <a:off x="4383088" y="1804047"/>
          <a:ext cx="577850" cy="1333500"/>
        </p:xfrm>
        <a:graphic>
          <a:graphicData uri="http://schemas.openxmlformats.org/presentationml/2006/ole">
            <mc:AlternateContent xmlns:mc="http://schemas.openxmlformats.org/markup-compatibility/2006">
              <mc:Choice xmlns:v="urn:schemas-microsoft-com:vml" Requires="v">
                <p:oleObj name="Acrobat Document" showAsIcon="1" r:id="rId6" imgW="380880" imgH="806400" progId="AcroExch.Document.DC">
                  <p:embed/>
                </p:oleObj>
              </mc:Choice>
              <mc:Fallback>
                <p:oleObj name="Acrobat Document" showAsIcon="1" r:id="rId6"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7"/>
                      <a:srcRect/>
                      <a:stretch>
                        <a:fillRect/>
                      </a:stretch>
                    </p:blipFill>
                    <p:spPr bwMode="auto">
                      <a:xfrm>
                        <a:off x="4383088" y="1804047"/>
                        <a:ext cx="577850" cy="1333500"/>
                      </a:xfrm>
                      <a:prstGeom prst="rect">
                        <a:avLst/>
                      </a:prstGeom>
                      <a:noFill/>
                    </p:spPr>
                  </p:pic>
                </p:oleObj>
              </mc:Fallback>
            </mc:AlternateContent>
          </a:graphicData>
        </a:graphic>
      </p:graphicFrame>
    </p:spTree>
    <p:extLst>
      <p:ext uri="{BB962C8B-B14F-4D97-AF65-F5344CB8AC3E}">
        <p14:creationId xmlns:p14="http://schemas.microsoft.com/office/powerpoint/2010/main" val="8653402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nvGraphicFramePr>
        <p:xfrm>
          <a:off x="181278" y="888596"/>
          <a:ext cx="11827108" cy="5687302"/>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808386">
                  <a:extLst>
                    <a:ext uri="{9D8B030D-6E8A-4147-A177-3AD203B41FA5}">
                      <a16:colId xmlns:a16="http://schemas.microsoft.com/office/drawing/2014/main" val="238683764"/>
                    </a:ext>
                  </a:extLst>
                </a:gridCol>
                <a:gridCol w="2346593">
                  <a:extLst>
                    <a:ext uri="{9D8B030D-6E8A-4147-A177-3AD203B41FA5}">
                      <a16:colId xmlns:a16="http://schemas.microsoft.com/office/drawing/2014/main" val="1253331438"/>
                    </a:ext>
                  </a:extLst>
                </a:gridCol>
                <a:gridCol w="3492448">
                  <a:extLst>
                    <a:ext uri="{9D8B030D-6E8A-4147-A177-3AD203B41FA5}">
                      <a16:colId xmlns:a16="http://schemas.microsoft.com/office/drawing/2014/main" val="197751461"/>
                    </a:ext>
                  </a:extLst>
                </a:gridCol>
                <a:gridCol w="3040555">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Focal</a:t>
                      </a:r>
                    </a:p>
                  </a:txBody>
                  <a:tcPr/>
                </a:tc>
                <a:tc>
                  <a:txBody>
                    <a:bodyPr/>
                    <a:lstStyle/>
                    <a:p>
                      <a:r>
                        <a:rPr lang="en-US" dirty="0"/>
                        <a:t> Enterprise collaboration</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DevSecOps</a:t>
                      </a:r>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txBody>
                  <a:tcPr/>
                </a:tc>
                <a:tc>
                  <a:txBody>
                    <a:bodyPr/>
                    <a:lstStyle/>
                    <a:p>
                      <a:r>
                        <a:rPr lang="pt-BR" sz="1200" b="1" dirty="0"/>
                        <a:t>Abhishek K, Singh</a:t>
                      </a:r>
                    </a:p>
                    <a:p>
                      <a:r>
                        <a:rPr lang="pt-BR" sz="1200" b="1" dirty="0"/>
                        <a:t>Kumar Anand</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Nair, Aathira Manikandan </a:t>
                      </a:r>
                    </a:p>
                    <a:p>
                      <a:pPr marL="228600" indent="-228600">
                        <a:buFont typeface="+mj-lt"/>
                        <a:buAutoNum type="arabicPeriod"/>
                      </a:pPr>
                      <a:r>
                        <a:rPr lang="pl-PL" sz="900" b="1" kern="1200" dirty="0">
                          <a:solidFill>
                            <a:schemeClr val="dk1"/>
                          </a:solidFill>
                          <a:effectLst/>
                          <a:latin typeface="+mn-lt"/>
                          <a:ea typeface="+mn-ea"/>
                          <a:cs typeface="+mn-cs"/>
                        </a:rPr>
                        <a:t>P, Ashwini</a:t>
                      </a:r>
                      <a:endParaRPr lang="en-US" sz="900" b="1" kern="1200" dirty="0">
                        <a:solidFill>
                          <a:schemeClr val="dk1"/>
                        </a:solidFill>
                        <a:effectLst/>
                        <a:latin typeface="+mn-lt"/>
                        <a:ea typeface="+mn-ea"/>
                        <a:cs typeface="+mn-cs"/>
                      </a:endParaRPr>
                    </a:p>
                    <a:p>
                      <a:pPr marL="228600" indent="-228600">
                        <a:buFont typeface="+mj-lt"/>
                        <a:buAutoNum type="arabicPeriod"/>
                      </a:pPr>
                      <a:r>
                        <a:rPr lang="en-US" sz="900" kern="1200" dirty="0">
                          <a:solidFill>
                            <a:schemeClr val="dk1"/>
                          </a:solidFill>
                          <a:effectLst/>
                          <a:latin typeface="+mn-lt"/>
                          <a:ea typeface="+mn-ea"/>
                          <a:cs typeface="+mn-cs"/>
                        </a:rPr>
                        <a:t>Amaragatti, Sharanappa</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Fink (US), Brendan A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Jenkins (US), Renee M </a:t>
                      </a:r>
                    </a:p>
                    <a:p>
                      <a:pPr marL="228600" indent="-228600">
                        <a:buFont typeface="+mj-lt"/>
                        <a:buAutoNum type="arabicPeriod"/>
                      </a:pPr>
                      <a:r>
                        <a:rPr lang="en-US" sz="900" kern="1200" dirty="0">
                          <a:solidFill>
                            <a:schemeClr val="dk1"/>
                          </a:solidFill>
                          <a:effectLst/>
                          <a:latin typeface="+mn-lt"/>
                          <a:ea typeface="+mn-ea"/>
                          <a:cs typeface="+mn-cs"/>
                        </a:rPr>
                        <a:t>Jha, Ravi N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ndan, Narendran </a:t>
                      </a:r>
                    </a:p>
                    <a:p>
                      <a:pPr marL="228600" indent="-228600">
                        <a:buFont typeface="+mj-lt"/>
                        <a:buAutoNum type="arabicPeriod"/>
                      </a:pPr>
                      <a:r>
                        <a:rPr lang="en-US" sz="900" kern="1200" dirty="0">
                          <a:solidFill>
                            <a:schemeClr val="dk1"/>
                          </a:solidFill>
                          <a:effectLst/>
                          <a:latin typeface="+mn-lt"/>
                          <a:ea typeface="+mn-ea"/>
                          <a:cs typeface="+mn-cs"/>
                        </a:rPr>
                        <a:t>Kaur, Harmeet </a:t>
                      </a:r>
                    </a:p>
                    <a:p>
                      <a:pPr marL="228600" indent="-228600">
                        <a:buFont typeface="+mj-lt"/>
                        <a:buAutoNum type="arabicPeriod"/>
                      </a:pPr>
                      <a:r>
                        <a:rPr lang="en-US" sz="900" kern="1200" dirty="0">
                          <a:solidFill>
                            <a:schemeClr val="dk1"/>
                          </a:solidFill>
                          <a:effectLst/>
                          <a:latin typeface="+mn-lt"/>
                          <a:ea typeface="+mn-ea"/>
                          <a:cs typeface="+mn-cs"/>
                        </a:rPr>
                        <a:t>Kumar, Abhishek </a:t>
                      </a:r>
                    </a:p>
                    <a:p>
                      <a:pPr marL="228600" indent="-228600">
                        <a:buFont typeface="+mj-lt"/>
                        <a:buAutoNum type="arabicPeriod"/>
                      </a:pPr>
                      <a:r>
                        <a:rPr lang="en-US" sz="900" kern="1200" dirty="0">
                          <a:solidFill>
                            <a:schemeClr val="dk1"/>
                          </a:solidFill>
                          <a:effectLst/>
                          <a:latin typeface="+mn-lt"/>
                          <a:ea typeface="+mn-ea"/>
                          <a:cs typeface="+mn-cs"/>
                        </a:rPr>
                        <a:t>Kumar, Rahul </a:t>
                      </a:r>
                    </a:p>
                    <a:p>
                      <a:pPr marL="228600" indent="-228600">
                        <a:buFont typeface="+mj-lt"/>
                        <a:buAutoNum type="arabicPeriod"/>
                      </a:pPr>
                      <a:r>
                        <a:rPr lang="en-US" sz="900" kern="1200" dirty="0">
                          <a:solidFill>
                            <a:schemeClr val="dk1"/>
                          </a:solidFill>
                          <a:effectLst/>
                          <a:latin typeface="+mn-lt"/>
                          <a:ea typeface="+mn-ea"/>
                          <a:cs typeface="+mn-cs"/>
                        </a:rPr>
                        <a:t>Malik (US), Muhammad A </a:t>
                      </a:r>
                    </a:p>
                    <a:p>
                      <a:pPr marL="228600" indent="-228600">
                        <a:buFont typeface="+mj-lt"/>
                        <a:buAutoNum type="arabicPeriod"/>
                      </a:pPr>
                      <a:r>
                        <a:rPr lang="en-US" sz="900" kern="1200" dirty="0">
                          <a:solidFill>
                            <a:schemeClr val="dk1"/>
                          </a:solidFill>
                          <a:effectLst/>
                          <a:latin typeface="+mn-lt"/>
                          <a:ea typeface="+mn-ea"/>
                          <a:cs typeface="+mn-cs"/>
                        </a:rPr>
                        <a:t>Mohiddin Basha, Mahammed Gulam </a:t>
                      </a:r>
                    </a:p>
                    <a:p>
                      <a:pPr marL="228600" indent="-228600">
                        <a:buFont typeface="+mj-lt"/>
                        <a:buAutoNum type="arabicPeriod"/>
                      </a:pPr>
                      <a:r>
                        <a:rPr lang="en-US" sz="900" kern="1200" dirty="0">
                          <a:solidFill>
                            <a:schemeClr val="dk1"/>
                          </a:solidFill>
                          <a:effectLst/>
                          <a:latin typeface="+mn-lt"/>
                          <a:ea typeface="+mn-ea"/>
                          <a:cs typeface="+mn-cs"/>
                        </a:rPr>
                        <a:t>Nadampalli Kumarraju, Lavanya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Popeck (US), John </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Prakash, Sumit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Rooge, Padma Prasad </a:t>
                      </a:r>
                    </a:p>
                    <a:p>
                      <a:pPr marL="228600" indent="-228600">
                        <a:buFont typeface="+mj-lt"/>
                        <a:buAutoNum type="arabicPeriod"/>
                      </a:pPr>
                      <a:r>
                        <a:rPr lang="en-US" sz="900" kern="1200" dirty="0">
                          <a:solidFill>
                            <a:schemeClr val="dk1"/>
                          </a:solidFill>
                          <a:effectLst/>
                          <a:latin typeface="+mn-lt"/>
                          <a:ea typeface="+mn-ea"/>
                          <a:cs typeface="+mn-cs"/>
                        </a:rPr>
                        <a:t>Singh, Omji Kunjbihari </a:t>
                      </a:r>
                    </a:p>
                    <a:p>
                      <a:pPr marL="228600" indent="-228600">
                        <a:buFont typeface="+mj-lt"/>
                        <a:buAutoNum type="arabicPeriod"/>
                      </a:pPr>
                      <a:r>
                        <a:rPr lang="en-US" sz="900" kern="1200" dirty="0">
                          <a:solidFill>
                            <a:schemeClr val="dk1"/>
                          </a:solidFill>
                          <a:effectLst/>
                          <a:latin typeface="+mn-lt"/>
                          <a:ea typeface="+mn-ea"/>
                          <a:cs typeface="+mn-cs"/>
                        </a:rPr>
                        <a:t>Urimindi, Sreenivasulu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0" indent="0">
                        <a:buFont typeface="+mj-lt"/>
                        <a:buNone/>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DevSecOps Core Team</a:t>
                      </a:r>
                      <a:endParaRPr lang="en-US" sz="1000" b="1" dirty="0"/>
                    </a:p>
                  </a:txBody>
                  <a:tcPr/>
                </a:tc>
                <a:tc rowSpan="2">
                  <a:txBody>
                    <a:bodyPr/>
                    <a:lstStyle/>
                    <a:p>
                      <a:pPr marL="228600" indent="-228600">
                        <a:buFont typeface="+mj-lt"/>
                        <a:buAutoNum type="arabicPeriod"/>
                      </a:pPr>
                      <a:r>
                        <a:rPr lang="en-US" sz="1000" dirty="0"/>
                        <a:t>Sharina Haynes</a:t>
                      </a:r>
                    </a:p>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0" indent="0">
                        <a:buFont typeface="+mj-lt"/>
                        <a:buNone/>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20495446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29619219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A5641-8C5A-435C-B9E3-8D20B02F8ADC}"/>
              </a:ext>
            </a:extLst>
          </p:cNvPr>
          <p:cNvSpPr>
            <a:spLocks noGrp="1"/>
          </p:cNvSpPr>
          <p:nvPr>
            <p:ph type="ctrTitle"/>
          </p:nvPr>
        </p:nvSpPr>
        <p:spPr>
          <a:xfrm>
            <a:off x="1524000" y="508001"/>
            <a:ext cx="7782560" cy="843280"/>
          </a:xfrm>
        </p:spPr>
        <p:txBody>
          <a:bodyPr/>
          <a:lstStyle/>
          <a:p>
            <a:r>
              <a:rPr lang="en-US" dirty="0"/>
              <a:t>	</a:t>
            </a:r>
            <a:r>
              <a:rPr lang="en-US" sz="3600" b="1" dirty="0"/>
              <a:t>CONTENTS</a:t>
            </a:r>
          </a:p>
        </p:txBody>
      </p:sp>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1442720"/>
            <a:ext cx="9144000" cy="3939540"/>
          </a:xfrm>
        </p:spPr>
        <p:txBody>
          <a:bodyPr/>
          <a:lstStyle/>
          <a:p>
            <a:pPr algn="l"/>
            <a:endParaRPr lang="en-US" dirty="0"/>
          </a:p>
          <a:p>
            <a:pPr marL="457200" indent="-457200" algn="l">
              <a:buAutoNum type="arabicParenR"/>
            </a:pPr>
            <a:r>
              <a:rPr lang="en-US" dirty="0">
                <a:hlinkClick r:id="rId2" action="ppaction://hlinksldjump"/>
              </a:rPr>
              <a:t>2024 OKR and Focus Areas</a:t>
            </a:r>
            <a:endParaRPr lang="en-US" dirty="0"/>
          </a:p>
          <a:p>
            <a:pPr marL="457200" indent="-457200" algn="l">
              <a:buAutoNum type="arabicParenR"/>
            </a:pPr>
            <a:r>
              <a:rPr lang="en-US" dirty="0">
                <a:hlinkClick r:id="rId3" action="ppaction://hlinksldjump"/>
              </a:rPr>
              <a:t>Progress</a:t>
            </a:r>
            <a:endParaRPr lang="en-US" dirty="0"/>
          </a:p>
          <a:p>
            <a:pPr marL="457200" indent="-457200" algn="l">
              <a:buFont typeface="Segoe UI" panose="020B0502040204020203" pitchFamily="34" charset="0"/>
              <a:buAutoNum type="arabicParenR"/>
            </a:pPr>
            <a:r>
              <a:rPr lang="en-US" dirty="0">
                <a:hlinkClick r:id="rId4" action="ppaction://hlinksldjump"/>
              </a:rPr>
              <a:t>Technical Session</a:t>
            </a:r>
            <a:endParaRPr lang="en-US" dirty="0"/>
          </a:p>
          <a:p>
            <a:pPr marL="457200" indent="-457200" algn="l">
              <a:buAutoNum type="arabicParenR"/>
            </a:pPr>
            <a:r>
              <a:rPr lang="en-US" dirty="0">
                <a:hlinkClick r:id="rId5" action="ppaction://hlinksldjump"/>
              </a:rPr>
              <a:t>Automation Progress</a:t>
            </a:r>
            <a:endParaRPr lang="en-US" dirty="0"/>
          </a:p>
          <a:p>
            <a:pPr marL="457200" indent="-457200" algn="l">
              <a:buAutoNum type="arabicParenR"/>
            </a:pPr>
            <a:r>
              <a:rPr lang="en-US" dirty="0">
                <a:hlinkClick r:id="rId6" action="ppaction://hlinksldjump"/>
              </a:rPr>
              <a:t>Training and references</a:t>
            </a:r>
            <a:endParaRPr lang="en-US" dirty="0"/>
          </a:p>
          <a:p>
            <a:pPr marL="457200" indent="-457200" algn="l">
              <a:buAutoNum type="arabicParenR"/>
            </a:pPr>
            <a:endParaRPr lang="en-US" dirty="0"/>
          </a:p>
          <a:p>
            <a:pPr marL="457200" indent="-457200" algn="l">
              <a:buAutoNum type="arabicParenR"/>
            </a:pPr>
            <a:endParaRPr lang="en-US" dirty="0"/>
          </a:p>
          <a:p>
            <a:pPr marL="457200" indent="-457200" algn="l">
              <a:buAutoNum type="arabicParenR"/>
            </a:pPr>
            <a:endParaRPr lang="en-US" dirty="0">
              <a:hlinkClick r:id="rId4" action="ppaction://hlinksldjump"/>
            </a:endParaRPr>
          </a:p>
        </p:txBody>
      </p:sp>
    </p:spTree>
    <p:extLst>
      <p:ext uri="{BB962C8B-B14F-4D97-AF65-F5344CB8AC3E}">
        <p14:creationId xmlns:p14="http://schemas.microsoft.com/office/powerpoint/2010/main" val="11750703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127C2F-4562-424A-A5B0-209AC3813DB8}"/>
              </a:ext>
            </a:extLst>
          </p:cNvPr>
          <p:cNvSpPr/>
          <p:nvPr/>
        </p:nvSpPr>
        <p:spPr>
          <a:xfrm>
            <a:off x="198539" y="976640"/>
            <a:ext cx="6160314" cy="325702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err="1"/>
              <a:t>DevSecOps</a:t>
            </a:r>
            <a:endParaRPr lang="en-US" b="1" dirty="0"/>
          </a:p>
          <a:p>
            <a:pPr>
              <a:spcBef>
                <a:spcPts val="300"/>
              </a:spcBef>
              <a:spcAft>
                <a:spcPts val="300"/>
              </a:spcAft>
            </a:pPr>
            <a:r>
              <a:rPr lang="en-US" sz="1400" dirty="0"/>
              <a:t>1- Improve maturity for business critical applications  </a:t>
            </a:r>
          </a:p>
          <a:p>
            <a:pPr>
              <a:spcBef>
                <a:spcPts val="300"/>
              </a:spcBef>
              <a:spcAft>
                <a:spcPts val="300"/>
              </a:spcAft>
            </a:pPr>
            <a:r>
              <a:rPr lang="en-US" sz="1400" dirty="0"/>
              <a:t>to Level 3 (minimum).- focus on 10% of applications (50) that have completed Assessment. </a:t>
            </a:r>
          </a:p>
          <a:p>
            <a:pPr>
              <a:spcBef>
                <a:spcPts val="300"/>
              </a:spcBef>
              <a:spcAft>
                <a:spcPts val="300"/>
              </a:spcAft>
            </a:pPr>
            <a:r>
              <a:rPr lang="en-US" sz="1400" dirty="0"/>
              <a:t>2-  Focus on </a:t>
            </a:r>
            <a:r>
              <a:rPr lang="en-US" sz="1400" dirty="0" err="1"/>
              <a:t>DevSecOps</a:t>
            </a:r>
            <a:r>
              <a:rPr lang="en-US" sz="1400" dirty="0"/>
              <a:t> maturity for apps already in cloud or plan to move in 2024</a:t>
            </a:r>
          </a:p>
          <a:p>
            <a:pPr>
              <a:spcBef>
                <a:spcPts val="300"/>
              </a:spcBef>
              <a:spcAft>
                <a:spcPts val="300"/>
              </a:spcAft>
            </a:pPr>
            <a:r>
              <a:rPr lang="en-US" sz="1400" dirty="0"/>
              <a:t>3- Complete assessment for product  with highest ROI - 20% Remaining Apps.</a:t>
            </a:r>
          </a:p>
          <a:p>
            <a:pPr>
              <a:spcBef>
                <a:spcPts val="300"/>
              </a:spcBef>
              <a:spcAft>
                <a:spcPts val="300"/>
              </a:spcAft>
            </a:pPr>
            <a:r>
              <a:rPr lang="en-US" sz="1400" dirty="0"/>
              <a:t>4- Build Reusable libraries from learnings and success stories</a:t>
            </a:r>
          </a:p>
          <a:p>
            <a:pPr>
              <a:spcBef>
                <a:spcPts val="300"/>
              </a:spcBef>
              <a:spcAft>
                <a:spcPts val="300"/>
              </a:spcAft>
            </a:pPr>
            <a:r>
              <a:rPr lang="en-US" sz="1400" dirty="0"/>
              <a:t>5- Training and Upskilling sessions for team ( 3 per Quarter)</a:t>
            </a:r>
          </a:p>
          <a:p>
            <a:pPr>
              <a:spcBef>
                <a:spcPts val="300"/>
              </a:spcBef>
              <a:spcAft>
                <a:spcPts val="300"/>
              </a:spcAft>
            </a:pPr>
            <a:r>
              <a:rPr lang="en-US" sz="1400" dirty="0"/>
              <a:t>6- Pilot projects with Software chapter team to improve maturity </a:t>
            </a:r>
          </a:p>
          <a:p>
            <a:pPr>
              <a:spcBef>
                <a:spcPts val="300"/>
              </a:spcBef>
              <a:spcAft>
                <a:spcPts val="300"/>
              </a:spcAft>
            </a:pPr>
            <a:endParaRPr lang="en-US" sz="1600" dirty="0"/>
          </a:p>
        </p:txBody>
      </p:sp>
      <p:sp>
        <p:nvSpPr>
          <p:cNvPr id="5" name="Rectangle 4">
            <a:extLst>
              <a:ext uri="{FF2B5EF4-FFF2-40B4-BE49-F238E27FC236}">
                <a16:creationId xmlns:a16="http://schemas.microsoft.com/office/drawing/2014/main" id="{8323491F-493B-4E54-9847-8F12FA3C8956}"/>
              </a:ext>
            </a:extLst>
          </p:cNvPr>
          <p:cNvSpPr/>
          <p:nvPr/>
        </p:nvSpPr>
        <p:spPr>
          <a:xfrm>
            <a:off x="198539" y="4421742"/>
            <a:ext cx="6160315" cy="1737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Automation</a:t>
            </a:r>
          </a:p>
          <a:p>
            <a:pPr>
              <a:spcBef>
                <a:spcPts val="300"/>
              </a:spcBef>
              <a:spcAft>
                <a:spcPts val="300"/>
              </a:spcAft>
            </a:pPr>
            <a:r>
              <a:rPr lang="en-US" sz="1400" dirty="0"/>
              <a:t>1- Improve Automation efficiency high ROI Products and bring product efficiencies.</a:t>
            </a:r>
          </a:p>
          <a:p>
            <a:pPr>
              <a:spcBef>
                <a:spcPts val="300"/>
              </a:spcBef>
              <a:spcAft>
                <a:spcPts val="300"/>
              </a:spcAft>
            </a:pPr>
            <a:r>
              <a:rPr lang="en-US" sz="1400" dirty="0"/>
              <a:t>2- Overall savings of 140K </a:t>
            </a:r>
            <a:r>
              <a:rPr lang="en-US" sz="1400" dirty="0" err="1"/>
              <a:t>Hrs</a:t>
            </a:r>
            <a:r>
              <a:rPr lang="en-US" sz="1400" dirty="0"/>
              <a:t> </a:t>
            </a:r>
          </a:p>
          <a:p>
            <a:pPr>
              <a:spcBef>
                <a:spcPts val="300"/>
              </a:spcBef>
              <a:spcAft>
                <a:spcPts val="300"/>
              </a:spcAft>
            </a:pPr>
            <a:r>
              <a:rPr lang="en-US" sz="1400" dirty="0"/>
              <a:t>3- Build Lean practices and automation for Compliance , </a:t>
            </a:r>
            <a:r>
              <a:rPr lang="en-US" sz="1400" dirty="0" err="1"/>
              <a:t>TechDebt</a:t>
            </a:r>
            <a:r>
              <a:rPr lang="en-US" sz="1400" dirty="0"/>
              <a:t> and Compute  </a:t>
            </a:r>
          </a:p>
        </p:txBody>
      </p:sp>
      <p:sp>
        <p:nvSpPr>
          <p:cNvPr id="6" name="Rectangle 5">
            <a:extLst>
              <a:ext uri="{FF2B5EF4-FFF2-40B4-BE49-F238E27FC236}">
                <a16:creationId xmlns:a16="http://schemas.microsoft.com/office/drawing/2014/main" id="{4DD313AB-699C-473D-ADA0-EE502F21AD59}"/>
              </a:ext>
            </a:extLst>
          </p:cNvPr>
          <p:cNvSpPr/>
          <p:nvPr/>
        </p:nvSpPr>
        <p:spPr>
          <a:xfrm>
            <a:off x="6589801" y="976640"/>
            <a:ext cx="4936672" cy="51821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High ROI products for focus:</a:t>
            </a:r>
          </a:p>
          <a:p>
            <a:pPr marL="285750" indent="-285750">
              <a:spcBef>
                <a:spcPts val="300"/>
              </a:spcBef>
              <a:spcAft>
                <a:spcPts val="300"/>
              </a:spcAft>
              <a:buFontTx/>
              <a:buChar char="-"/>
            </a:pPr>
            <a:r>
              <a:rPr lang="en-US" sz="1600" dirty="0"/>
              <a:t>Jennifer</a:t>
            </a:r>
          </a:p>
          <a:p>
            <a:pPr marL="742950" lvl="1" indent="-285750">
              <a:spcBef>
                <a:spcPts val="300"/>
              </a:spcBef>
              <a:spcAft>
                <a:spcPts val="300"/>
              </a:spcAft>
              <a:buFontTx/>
              <a:buChar char="-"/>
            </a:pPr>
            <a:r>
              <a:rPr lang="en-US" sz="1600" dirty="0"/>
              <a:t>Regulatory and Safety</a:t>
            </a:r>
          </a:p>
          <a:p>
            <a:pPr marL="285750" indent="-285750">
              <a:spcBef>
                <a:spcPts val="300"/>
              </a:spcBef>
              <a:spcAft>
                <a:spcPts val="300"/>
              </a:spcAft>
              <a:buFontTx/>
              <a:buChar char="-"/>
            </a:pPr>
            <a:r>
              <a:rPr lang="en-US" sz="1600" dirty="0"/>
              <a:t>Tatum</a:t>
            </a:r>
          </a:p>
          <a:p>
            <a:pPr marL="742950" lvl="1" indent="-285750">
              <a:spcBef>
                <a:spcPts val="300"/>
              </a:spcBef>
              <a:spcAft>
                <a:spcPts val="300"/>
              </a:spcAft>
              <a:buFontTx/>
              <a:buChar char="-"/>
            </a:pPr>
            <a:r>
              <a:rPr lang="en-US" sz="1600" dirty="0"/>
              <a:t>System Engineering</a:t>
            </a:r>
          </a:p>
          <a:p>
            <a:pPr marL="742950" lvl="1" indent="-285750">
              <a:spcBef>
                <a:spcPts val="300"/>
              </a:spcBef>
              <a:spcAft>
                <a:spcPts val="300"/>
              </a:spcAft>
              <a:buFontTx/>
              <a:buChar char="-"/>
            </a:pPr>
            <a:r>
              <a:rPr lang="en-US" sz="1600" dirty="0"/>
              <a:t>Electrical Engineering</a:t>
            </a:r>
          </a:p>
          <a:p>
            <a:pPr marL="742950" lvl="1" indent="-285750">
              <a:spcBef>
                <a:spcPts val="300"/>
              </a:spcBef>
              <a:spcAft>
                <a:spcPts val="300"/>
              </a:spcAft>
              <a:buFontTx/>
              <a:buChar char="-"/>
            </a:pPr>
            <a:r>
              <a:rPr lang="en-US" sz="1600" dirty="0"/>
              <a:t>Customer Engineering (CE)</a:t>
            </a:r>
          </a:p>
          <a:p>
            <a:pPr marL="285750" indent="-285750">
              <a:spcBef>
                <a:spcPts val="300"/>
              </a:spcBef>
              <a:spcAft>
                <a:spcPts val="300"/>
              </a:spcAft>
              <a:buFontTx/>
              <a:buChar char="-"/>
            </a:pPr>
            <a:r>
              <a:rPr lang="en-US" sz="1600" dirty="0"/>
              <a:t>Buba</a:t>
            </a:r>
          </a:p>
          <a:p>
            <a:pPr marL="742950" lvl="1" indent="-285750">
              <a:spcBef>
                <a:spcPts val="300"/>
              </a:spcBef>
              <a:spcAft>
                <a:spcPts val="300"/>
              </a:spcAft>
              <a:buFontTx/>
              <a:buChar char="-"/>
            </a:pPr>
            <a:r>
              <a:rPr lang="en-US" sz="1600" dirty="0"/>
              <a:t>Digital Market Products</a:t>
            </a:r>
          </a:p>
          <a:p>
            <a:pPr marL="742950" lvl="1" indent="-285750">
              <a:spcBef>
                <a:spcPts val="300"/>
              </a:spcBef>
              <a:spcAft>
                <a:spcPts val="300"/>
              </a:spcAft>
              <a:buFontTx/>
              <a:buChar char="-"/>
            </a:pPr>
            <a:r>
              <a:rPr lang="en-US" sz="1600" dirty="0"/>
              <a:t>Technical Publications</a:t>
            </a:r>
          </a:p>
          <a:p>
            <a:pPr marL="285750" indent="-285750">
              <a:spcBef>
                <a:spcPts val="300"/>
              </a:spcBef>
              <a:spcAft>
                <a:spcPts val="300"/>
              </a:spcAft>
              <a:buFontTx/>
              <a:buChar char="-"/>
            </a:pPr>
            <a:r>
              <a:rPr lang="en-US" sz="1600" dirty="0"/>
              <a:t>Jeff</a:t>
            </a:r>
          </a:p>
          <a:p>
            <a:pPr marL="742950" lvl="1" indent="-285750">
              <a:spcBef>
                <a:spcPts val="300"/>
              </a:spcBef>
              <a:spcAft>
                <a:spcPts val="300"/>
              </a:spcAft>
              <a:buFontTx/>
              <a:buChar char="-"/>
            </a:pPr>
            <a:r>
              <a:rPr lang="en-US" sz="1600" dirty="0"/>
              <a:t>Embedded Program Support</a:t>
            </a:r>
          </a:p>
          <a:p>
            <a:pPr marL="742950" lvl="1" indent="-285750">
              <a:spcBef>
                <a:spcPts val="300"/>
              </a:spcBef>
              <a:spcAft>
                <a:spcPts val="300"/>
              </a:spcAft>
              <a:buFontTx/>
              <a:buChar char="-"/>
            </a:pPr>
            <a:r>
              <a:rPr lang="en-US" sz="1600" dirty="0"/>
              <a:t>Product Support Analysis</a:t>
            </a:r>
          </a:p>
          <a:p>
            <a:pPr marL="742950" lvl="1" indent="-285750">
              <a:spcBef>
                <a:spcPts val="300"/>
              </a:spcBef>
              <a:spcAft>
                <a:spcPts val="300"/>
              </a:spcAft>
              <a:buFontTx/>
              <a:buChar char="-"/>
            </a:pPr>
            <a:endParaRPr lang="en-US" sz="1600" dirty="0"/>
          </a:p>
        </p:txBody>
      </p:sp>
      <p:sp>
        <p:nvSpPr>
          <p:cNvPr id="7" name="Title 1">
            <a:extLst>
              <a:ext uri="{FF2B5EF4-FFF2-40B4-BE49-F238E27FC236}">
                <a16:creationId xmlns:a16="http://schemas.microsoft.com/office/drawing/2014/main" id="{F089F2BC-C5CC-45F1-B9EF-0201007172DD}"/>
              </a:ext>
            </a:extLst>
          </p:cNvPr>
          <p:cNvSpPr>
            <a:spLocks noGrp="1"/>
          </p:cNvSpPr>
          <p:nvPr>
            <p:ph type="title"/>
          </p:nvPr>
        </p:nvSpPr>
        <p:spPr>
          <a:xfrm>
            <a:off x="299208" y="93234"/>
            <a:ext cx="11150600" cy="577885"/>
          </a:xfrm>
        </p:spPr>
        <p:txBody>
          <a:bodyPr/>
          <a:lstStyle/>
          <a:p>
            <a:pPr algn="ctr"/>
            <a:r>
              <a:rPr lang="en-US" dirty="0"/>
              <a:t>2024 OKR AND FOCUS AREAS</a:t>
            </a:r>
          </a:p>
        </p:txBody>
      </p:sp>
    </p:spTree>
    <p:extLst>
      <p:ext uri="{BB962C8B-B14F-4D97-AF65-F5344CB8AC3E}">
        <p14:creationId xmlns:p14="http://schemas.microsoft.com/office/powerpoint/2010/main" val="5846225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69A0E1C-04BF-4275-82FA-4B635D5DE670}"/>
              </a:ext>
            </a:extLst>
          </p:cNvPr>
          <p:cNvCxnSpPr>
            <a:cxnSpLocks/>
          </p:cNvCxnSpPr>
          <p:nvPr/>
        </p:nvCxnSpPr>
        <p:spPr>
          <a:xfrm>
            <a:off x="6078090" y="492712"/>
            <a:ext cx="0" cy="5874532"/>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1B8533A-B546-49B7-B39E-F797DBCDFF2F}"/>
              </a:ext>
            </a:extLst>
          </p:cNvPr>
          <p:cNvCxnSpPr>
            <a:cxnSpLocks/>
          </p:cNvCxnSpPr>
          <p:nvPr/>
        </p:nvCxnSpPr>
        <p:spPr>
          <a:xfrm flipV="1">
            <a:off x="310761" y="3431200"/>
            <a:ext cx="10999176" cy="70339"/>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2776263D-8A8B-4820-90B0-1D8C50CE2B51}"/>
              </a:ext>
            </a:extLst>
          </p:cNvPr>
          <p:cNvSpPr>
            <a:spLocks noGrp="1"/>
          </p:cNvSpPr>
          <p:nvPr>
            <p:ph type="title"/>
          </p:nvPr>
        </p:nvSpPr>
        <p:spPr>
          <a:xfrm>
            <a:off x="515938" y="133166"/>
            <a:ext cx="11150600" cy="359546"/>
          </a:xfrm>
        </p:spPr>
        <p:txBody>
          <a:bodyPr/>
          <a:lstStyle/>
          <a:p>
            <a:r>
              <a:rPr lang="en-US" dirty="0"/>
              <a:t>Progress</a:t>
            </a:r>
          </a:p>
        </p:txBody>
      </p:sp>
      <p:sp>
        <p:nvSpPr>
          <p:cNvPr id="11" name="Rectangle: Rounded Corners 10">
            <a:extLst>
              <a:ext uri="{FF2B5EF4-FFF2-40B4-BE49-F238E27FC236}">
                <a16:creationId xmlns:a16="http://schemas.microsoft.com/office/drawing/2014/main" id="{846FE4BC-FC27-40D8-8543-69E9DF9CB8AA}"/>
              </a:ext>
            </a:extLst>
          </p:cNvPr>
          <p:cNvSpPr/>
          <p:nvPr/>
        </p:nvSpPr>
        <p:spPr>
          <a:xfrm>
            <a:off x="312209" y="696094"/>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Objectives – E&amp;PS</a:t>
            </a:r>
          </a:p>
        </p:txBody>
      </p:sp>
      <p:sp>
        <p:nvSpPr>
          <p:cNvPr id="12" name="Rectangle: Rounded Corners 11">
            <a:extLst>
              <a:ext uri="{FF2B5EF4-FFF2-40B4-BE49-F238E27FC236}">
                <a16:creationId xmlns:a16="http://schemas.microsoft.com/office/drawing/2014/main" id="{610F154C-5D19-44AB-8E93-FA2922A50613}"/>
              </a:ext>
            </a:extLst>
          </p:cNvPr>
          <p:cNvSpPr/>
          <p:nvPr/>
        </p:nvSpPr>
        <p:spPr>
          <a:xfrm>
            <a:off x="6308520" y="468549"/>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tatus</a:t>
            </a:r>
          </a:p>
        </p:txBody>
      </p:sp>
      <p:sp>
        <p:nvSpPr>
          <p:cNvPr id="13" name="Rectangle: Rounded Corners 12">
            <a:extLst>
              <a:ext uri="{FF2B5EF4-FFF2-40B4-BE49-F238E27FC236}">
                <a16:creationId xmlns:a16="http://schemas.microsoft.com/office/drawing/2014/main" id="{9AC6F22A-3CB2-4011-8D37-82DC249D7E50}"/>
              </a:ext>
            </a:extLst>
          </p:cNvPr>
          <p:cNvSpPr/>
          <p:nvPr/>
        </p:nvSpPr>
        <p:spPr>
          <a:xfrm>
            <a:off x="310761" y="3568867"/>
            <a:ext cx="2483777"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ighlights &amp; Look Ahead</a:t>
            </a:r>
          </a:p>
        </p:txBody>
      </p:sp>
      <p:sp>
        <p:nvSpPr>
          <p:cNvPr id="14" name="Rectangle: Rounded Corners 13">
            <a:extLst>
              <a:ext uri="{FF2B5EF4-FFF2-40B4-BE49-F238E27FC236}">
                <a16:creationId xmlns:a16="http://schemas.microsoft.com/office/drawing/2014/main" id="{3912DD37-BF8C-410F-85C3-F31046AC8CAB}"/>
              </a:ext>
            </a:extLst>
          </p:cNvPr>
          <p:cNvSpPr/>
          <p:nvPr/>
        </p:nvSpPr>
        <p:spPr>
          <a:xfrm>
            <a:off x="6308520" y="3538696"/>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elp Needed</a:t>
            </a:r>
          </a:p>
        </p:txBody>
      </p:sp>
      <p:sp>
        <p:nvSpPr>
          <p:cNvPr id="16" name="Rectangle 15">
            <a:extLst>
              <a:ext uri="{FF2B5EF4-FFF2-40B4-BE49-F238E27FC236}">
                <a16:creationId xmlns:a16="http://schemas.microsoft.com/office/drawing/2014/main" id="{1AE47120-D0C1-4E3B-B784-96CFA552E5C8}"/>
              </a:ext>
            </a:extLst>
          </p:cNvPr>
          <p:cNvSpPr/>
          <p:nvPr/>
        </p:nvSpPr>
        <p:spPr>
          <a:xfrm>
            <a:off x="232333" y="1354542"/>
            <a:ext cx="5389039" cy="1754326"/>
          </a:xfrm>
          <a:prstGeom prst="rect">
            <a:avLst/>
          </a:prstGeom>
        </p:spPr>
        <p:txBody>
          <a:bodyPr wrap="none">
            <a:spAutoFit/>
          </a:bodyPr>
          <a:lstStyle/>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Automation Savings 2024:  140 K Hr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Assessments: 130 App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Maturity Improvement - 50 Apps</a:t>
            </a:r>
          </a:p>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Upskill Sessions - 12</a:t>
            </a:r>
          </a:p>
          <a:p>
            <a:pPr marL="285750" indent="-285750">
              <a:buFont typeface="Wingdings" panose="05000000000000000000" pitchFamily="2" charset="2"/>
              <a:buChar char="q"/>
            </a:pPr>
            <a:endParaRPr lang="en-US" dirty="0">
              <a:latin typeface="Helvetica" panose="020B0604020202020204" pitchFamily="34" charset="0"/>
              <a:ea typeface="Times New Roman" panose="02020603050405020304" pitchFamily="18" charset="0"/>
              <a:cs typeface="Calibri" panose="020F0502020204030204" pitchFamily="34" charset="0"/>
            </a:endParaRPr>
          </a:p>
          <a:p>
            <a:endParaRPr lang="en-US" dirty="0"/>
          </a:p>
        </p:txBody>
      </p:sp>
      <p:sp>
        <p:nvSpPr>
          <p:cNvPr id="17" name="Rectangle 16">
            <a:extLst>
              <a:ext uri="{FF2B5EF4-FFF2-40B4-BE49-F238E27FC236}">
                <a16:creationId xmlns:a16="http://schemas.microsoft.com/office/drawing/2014/main" id="{50156D0C-966D-4997-ABD4-F49F291E75C0}"/>
              </a:ext>
            </a:extLst>
          </p:cNvPr>
          <p:cNvSpPr/>
          <p:nvPr/>
        </p:nvSpPr>
        <p:spPr>
          <a:xfrm>
            <a:off x="6186865" y="943889"/>
            <a:ext cx="5772802" cy="2800767"/>
          </a:xfrm>
          <a:prstGeom prst="rect">
            <a:avLst/>
          </a:prstGeom>
        </p:spPr>
        <p:txBody>
          <a:bodyPr wrap="square">
            <a:spAutoFit/>
          </a:bodyPr>
          <a:lstStyle/>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Automation Savings Achieved  :  </a:t>
            </a:r>
            <a:r>
              <a:rPr lang="en-US" sz="1600" b="1" dirty="0">
                <a:latin typeface="Helvetica" panose="020B0604020202020204" pitchFamily="34" charset="0"/>
                <a:ea typeface="Times New Roman" panose="02020603050405020304" pitchFamily="18" charset="0"/>
                <a:cs typeface="Calibri" panose="020F0502020204030204" pitchFamily="34" charset="0"/>
              </a:rPr>
              <a:t>23721</a:t>
            </a:r>
            <a:r>
              <a:rPr lang="en-US" sz="1600" dirty="0">
                <a:latin typeface="Helvetica" panose="020B0604020202020204" pitchFamily="34" charset="0"/>
                <a:ea typeface="Times New Roman" panose="02020603050405020304" pitchFamily="18" charset="0"/>
                <a:cs typeface="Calibri" panose="020F0502020204030204" pitchFamily="34" charset="0"/>
              </a:rPr>
              <a:t> Hrs.</a:t>
            </a: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Assessments :</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34</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24</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Maturity Improvements (Re-assessment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8</a:t>
            </a:r>
            <a:endParaRPr lang="en-US" sz="1600" dirty="0">
              <a:highlight>
                <a:srgbClr val="FFFF00"/>
              </a:highlight>
              <a:latin typeface="Helvetica" panose="020B0604020202020204" pitchFamily="34" charset="0"/>
              <a:ea typeface="Times New Roman" panose="02020603050405020304" pitchFamily="18" charset="0"/>
              <a:cs typeface="Calibri" panose="020F0502020204030204" pitchFamily="34" charset="0"/>
            </a:endParaRP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7</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Upskill Session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5</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Scheduled - 2</a:t>
            </a:r>
          </a:p>
          <a:p>
            <a:pPr marL="742950" lvl="1" indent="-285750">
              <a:buFont typeface="Wingdings" panose="05000000000000000000" pitchFamily="2" charset="2"/>
              <a:buChar char="q"/>
            </a:pPr>
            <a:endParaRPr lang="en-US" sz="1600" dirty="0">
              <a:latin typeface="Helvetica" panose="020B0604020202020204" pitchFamily="34" charset="0"/>
              <a:ea typeface="Times New Roman" panose="02020603050405020304" pitchFamily="18" charset="0"/>
              <a:cs typeface="Calibri" panose="020F0502020204030204" pitchFamily="34" charset="0"/>
            </a:endParaRPr>
          </a:p>
        </p:txBody>
      </p:sp>
      <p:sp>
        <p:nvSpPr>
          <p:cNvPr id="19" name="Rectangle 18">
            <a:extLst>
              <a:ext uri="{FF2B5EF4-FFF2-40B4-BE49-F238E27FC236}">
                <a16:creationId xmlns:a16="http://schemas.microsoft.com/office/drawing/2014/main" id="{8A3DD2E0-C778-4A6F-9D77-87D473E6F2A0}"/>
              </a:ext>
            </a:extLst>
          </p:cNvPr>
          <p:cNvSpPr/>
          <p:nvPr/>
        </p:nvSpPr>
        <p:spPr>
          <a:xfrm>
            <a:off x="6248580" y="4348100"/>
            <a:ext cx="6096000" cy="646331"/>
          </a:xfrm>
          <a:prstGeom prst="rect">
            <a:avLst/>
          </a:prstGeom>
        </p:spPr>
        <p:txBody>
          <a:bodyPr>
            <a:spAutoFit/>
          </a:bodyPr>
          <a:lstStyle/>
          <a:p>
            <a:pPr marL="285750" indent="-285750">
              <a:buFont typeface="Wingdings" panose="05000000000000000000" pitchFamily="2" charset="2"/>
              <a:buChar char="q"/>
            </a:pPr>
            <a:endParaRPr lang="en-US" dirty="0"/>
          </a:p>
          <a:p>
            <a:endParaRPr lang="en-US" dirty="0"/>
          </a:p>
        </p:txBody>
      </p:sp>
      <p:sp>
        <p:nvSpPr>
          <p:cNvPr id="20" name="Rectangle 19">
            <a:extLst>
              <a:ext uri="{FF2B5EF4-FFF2-40B4-BE49-F238E27FC236}">
                <a16:creationId xmlns:a16="http://schemas.microsoft.com/office/drawing/2014/main" id="{D9002E98-AB9D-4329-BA53-7FBD8A1AE2EF}"/>
              </a:ext>
            </a:extLst>
          </p:cNvPr>
          <p:cNvSpPr/>
          <p:nvPr/>
        </p:nvSpPr>
        <p:spPr>
          <a:xfrm>
            <a:off x="6213786" y="4067155"/>
            <a:ext cx="5772802" cy="584775"/>
          </a:xfrm>
          <a:prstGeom prst="rect">
            <a:avLst/>
          </a:prstGeom>
        </p:spPr>
        <p:txBody>
          <a:bodyPr wrap="square">
            <a:spAutoFit/>
          </a:bodyPr>
          <a:lstStyle/>
          <a:p>
            <a:pPr marL="285750" indent="-285750">
              <a:buFont typeface="Wingdings" panose="05000000000000000000" pitchFamily="2" charset="2"/>
              <a:buChar char="q"/>
            </a:pPr>
            <a:r>
              <a:rPr lang="en-US" sz="1600" dirty="0"/>
              <a:t>Prioritization on </a:t>
            </a:r>
            <a:r>
              <a:rPr lang="en-US" sz="1600" dirty="0" err="1"/>
              <a:t>DevSecOps</a:t>
            </a:r>
            <a:r>
              <a:rPr lang="en-US" sz="1600" dirty="0"/>
              <a:t> adoption in products</a:t>
            </a:r>
          </a:p>
          <a:p>
            <a:pPr marL="285750" indent="-285750">
              <a:buFont typeface="Wingdings" panose="05000000000000000000" pitchFamily="2" charset="2"/>
              <a:buChar char="q"/>
            </a:pPr>
            <a:r>
              <a:rPr lang="en-US" sz="1600" dirty="0"/>
              <a:t>Automation Savings updates on COP</a:t>
            </a:r>
          </a:p>
        </p:txBody>
      </p:sp>
      <p:sp>
        <p:nvSpPr>
          <p:cNvPr id="2" name="Rectangle 1">
            <a:extLst>
              <a:ext uri="{FF2B5EF4-FFF2-40B4-BE49-F238E27FC236}">
                <a16:creationId xmlns:a16="http://schemas.microsoft.com/office/drawing/2014/main" id="{3B43F96F-3565-9F69-3736-83A808C5DB62}"/>
              </a:ext>
            </a:extLst>
          </p:cNvPr>
          <p:cNvSpPr/>
          <p:nvPr/>
        </p:nvSpPr>
        <p:spPr>
          <a:xfrm>
            <a:off x="237441" y="4149561"/>
            <a:ext cx="5772802" cy="1569660"/>
          </a:xfrm>
          <a:prstGeom prst="rect">
            <a:avLst/>
          </a:prstGeom>
        </p:spPr>
        <p:txBody>
          <a:bodyPr wrap="square">
            <a:spAutoFit/>
          </a:bodyPr>
          <a:lstStyle/>
          <a:p>
            <a:pPr marL="285750" indent="-285750">
              <a:buFont typeface="Wingdings" panose="05000000000000000000" pitchFamily="2" charset="2"/>
              <a:buChar char="q"/>
            </a:pPr>
            <a:r>
              <a:rPr lang="en-US" sz="1600" dirty="0"/>
              <a:t>Focal working with product team to work on prioritizations</a:t>
            </a:r>
          </a:p>
          <a:p>
            <a:pPr marL="285750" indent="-285750">
              <a:buFont typeface="Wingdings" panose="05000000000000000000" pitchFamily="2" charset="2"/>
              <a:buChar char="q"/>
            </a:pPr>
            <a:r>
              <a:rPr lang="en-US" sz="1600" dirty="0"/>
              <a:t>Work in brining efficiencies through product maturity</a:t>
            </a:r>
          </a:p>
          <a:p>
            <a:pPr marL="285750" indent="-285750">
              <a:buFont typeface="Wingdings" panose="05000000000000000000" pitchFamily="2" charset="2"/>
              <a:buChar char="q"/>
            </a:pPr>
            <a:r>
              <a:rPr lang="en-US" sz="1600" dirty="0"/>
              <a:t>Working with DSO Pioneer team to bring leanings &amp; Savings for pilot projects completed</a:t>
            </a:r>
          </a:p>
          <a:p>
            <a:pPr marL="285750" indent="-285750">
              <a:buFont typeface="Wingdings" panose="05000000000000000000" pitchFamily="2" charset="2"/>
              <a:buChar char="q"/>
            </a:pPr>
            <a:endParaRPr lang="en-US" sz="1600" dirty="0"/>
          </a:p>
          <a:p>
            <a:pPr marL="285750" indent="-285750">
              <a:buFont typeface="Wingdings" panose="05000000000000000000" pitchFamily="2" charset="2"/>
              <a:buChar char="q"/>
            </a:pPr>
            <a:r>
              <a:rPr lang="en-US" sz="1600" dirty="0"/>
              <a:t>Tableau Dashboard </a:t>
            </a:r>
            <a:r>
              <a:rPr lang="en-US" sz="1600" dirty="0">
                <a:solidFill>
                  <a:srgbClr val="0039A6"/>
                </a:solidFill>
                <a:hlinkClick r:id="rId2"/>
              </a:rPr>
              <a:t>LINK</a:t>
            </a:r>
            <a:endParaRPr lang="en-US" sz="1600" dirty="0">
              <a:solidFill>
                <a:srgbClr val="0039A6"/>
              </a:solidFill>
            </a:endParaRPr>
          </a:p>
        </p:txBody>
      </p:sp>
    </p:spTree>
    <p:extLst>
      <p:ext uri="{BB962C8B-B14F-4D97-AF65-F5344CB8AC3E}">
        <p14:creationId xmlns:p14="http://schemas.microsoft.com/office/powerpoint/2010/main" val="3637937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A22A9-C63B-45E4-AB4E-0D3A6C49C8CB}"/>
              </a:ext>
            </a:extLst>
          </p:cNvPr>
          <p:cNvSpPr>
            <a:spLocks noGrp="1"/>
          </p:cNvSpPr>
          <p:nvPr>
            <p:ph type="title"/>
          </p:nvPr>
        </p:nvSpPr>
        <p:spPr>
          <a:xfrm>
            <a:off x="520700" y="169742"/>
            <a:ext cx="11150600" cy="359546"/>
          </a:xfrm>
        </p:spPr>
        <p:txBody>
          <a:bodyPr/>
          <a:lstStyle/>
          <a:p>
            <a:r>
              <a:rPr lang="en-US" dirty="0"/>
              <a:t>Engineering Progress</a:t>
            </a:r>
          </a:p>
        </p:txBody>
      </p:sp>
      <p:graphicFrame>
        <p:nvGraphicFramePr>
          <p:cNvPr id="3" name="Table 2">
            <a:extLst>
              <a:ext uri="{FF2B5EF4-FFF2-40B4-BE49-F238E27FC236}">
                <a16:creationId xmlns:a16="http://schemas.microsoft.com/office/drawing/2014/main" id="{84D2B613-7B79-42B8-A96D-6C517B825CC6}"/>
              </a:ext>
            </a:extLst>
          </p:cNvPr>
          <p:cNvGraphicFramePr>
            <a:graphicFrameLocks noGrp="1"/>
          </p:cNvGraphicFramePr>
          <p:nvPr>
            <p:extLst>
              <p:ext uri="{D42A27DB-BD31-4B8C-83A1-F6EECF244321}">
                <p14:modId xmlns:p14="http://schemas.microsoft.com/office/powerpoint/2010/main" val="1361572726"/>
              </p:ext>
            </p:extLst>
          </p:nvPr>
        </p:nvGraphicFramePr>
        <p:xfrm>
          <a:off x="155448" y="529289"/>
          <a:ext cx="11905489" cy="5705734"/>
        </p:xfrm>
        <a:graphic>
          <a:graphicData uri="http://schemas.openxmlformats.org/drawingml/2006/table">
            <a:tbl>
              <a:tblPr/>
              <a:tblGrid>
                <a:gridCol w="1823054">
                  <a:extLst>
                    <a:ext uri="{9D8B030D-6E8A-4147-A177-3AD203B41FA5}">
                      <a16:colId xmlns:a16="http://schemas.microsoft.com/office/drawing/2014/main" val="2867497838"/>
                    </a:ext>
                  </a:extLst>
                </a:gridCol>
                <a:gridCol w="1823054">
                  <a:extLst>
                    <a:ext uri="{9D8B030D-6E8A-4147-A177-3AD203B41FA5}">
                      <a16:colId xmlns:a16="http://schemas.microsoft.com/office/drawing/2014/main" val="2020018926"/>
                    </a:ext>
                  </a:extLst>
                </a:gridCol>
                <a:gridCol w="1181134">
                  <a:extLst>
                    <a:ext uri="{9D8B030D-6E8A-4147-A177-3AD203B41FA5}">
                      <a16:colId xmlns:a16="http://schemas.microsoft.com/office/drawing/2014/main" val="472967971"/>
                    </a:ext>
                  </a:extLst>
                </a:gridCol>
                <a:gridCol w="1181134">
                  <a:extLst>
                    <a:ext uri="{9D8B030D-6E8A-4147-A177-3AD203B41FA5}">
                      <a16:colId xmlns:a16="http://schemas.microsoft.com/office/drawing/2014/main" val="3715103455"/>
                    </a:ext>
                  </a:extLst>
                </a:gridCol>
                <a:gridCol w="624801">
                  <a:extLst>
                    <a:ext uri="{9D8B030D-6E8A-4147-A177-3AD203B41FA5}">
                      <a16:colId xmlns:a16="http://schemas.microsoft.com/office/drawing/2014/main" val="307681032"/>
                    </a:ext>
                  </a:extLst>
                </a:gridCol>
                <a:gridCol w="855896">
                  <a:extLst>
                    <a:ext uri="{9D8B030D-6E8A-4147-A177-3AD203B41FA5}">
                      <a16:colId xmlns:a16="http://schemas.microsoft.com/office/drawing/2014/main" val="1483188663"/>
                    </a:ext>
                  </a:extLst>
                </a:gridCol>
                <a:gridCol w="1249606">
                  <a:extLst>
                    <a:ext uri="{9D8B030D-6E8A-4147-A177-3AD203B41FA5}">
                      <a16:colId xmlns:a16="http://schemas.microsoft.com/office/drawing/2014/main" val="364914147"/>
                    </a:ext>
                  </a:extLst>
                </a:gridCol>
                <a:gridCol w="1249606">
                  <a:extLst>
                    <a:ext uri="{9D8B030D-6E8A-4147-A177-3AD203B41FA5}">
                      <a16:colId xmlns:a16="http://schemas.microsoft.com/office/drawing/2014/main" val="3859555303"/>
                    </a:ext>
                  </a:extLst>
                </a:gridCol>
                <a:gridCol w="479301">
                  <a:extLst>
                    <a:ext uri="{9D8B030D-6E8A-4147-A177-3AD203B41FA5}">
                      <a16:colId xmlns:a16="http://schemas.microsoft.com/office/drawing/2014/main" val="3962685318"/>
                    </a:ext>
                  </a:extLst>
                </a:gridCol>
                <a:gridCol w="479301">
                  <a:extLst>
                    <a:ext uri="{9D8B030D-6E8A-4147-A177-3AD203B41FA5}">
                      <a16:colId xmlns:a16="http://schemas.microsoft.com/office/drawing/2014/main" val="1589619156"/>
                    </a:ext>
                  </a:extLst>
                </a:gridCol>
                <a:gridCol w="479301">
                  <a:extLst>
                    <a:ext uri="{9D8B030D-6E8A-4147-A177-3AD203B41FA5}">
                      <a16:colId xmlns:a16="http://schemas.microsoft.com/office/drawing/2014/main" val="209386786"/>
                    </a:ext>
                  </a:extLst>
                </a:gridCol>
                <a:gridCol w="479301">
                  <a:extLst>
                    <a:ext uri="{9D8B030D-6E8A-4147-A177-3AD203B41FA5}">
                      <a16:colId xmlns:a16="http://schemas.microsoft.com/office/drawing/2014/main" val="1254485807"/>
                    </a:ext>
                  </a:extLst>
                </a:gridCol>
              </a:tblGrid>
              <a:tr h="212941">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900" b="1" i="0" u="none" strike="noStrike">
                          <a:solidFill>
                            <a:srgbClr val="000000"/>
                          </a:solidFill>
                          <a:effectLst/>
                          <a:latin typeface="Calibri" panose="020F0502020204030204" pitchFamily="34" charset="0"/>
                        </a:rPr>
                        <a:t>2024 Targe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rtl="0" fontAlgn="ctr"/>
                      <a:r>
                        <a:rPr lang="en-US" sz="900" b="1"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4">
                  <a:txBody>
                    <a:bodyPr/>
                    <a:lstStyle/>
                    <a:p>
                      <a:pPr algn="ctr" fontAlgn="ctr"/>
                      <a:r>
                        <a:rPr lang="en-US" sz="900" b="1" i="0" u="none" strike="noStrike" dirty="0">
                          <a:solidFill>
                            <a:srgbClr val="000000"/>
                          </a:solidFill>
                          <a:effectLst/>
                          <a:latin typeface="Calibri" panose="020F0502020204030204" pitchFamily="34" charset="0"/>
                        </a:rPr>
                        <a:t>2024 Actual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50558088"/>
                  </a:ext>
                </a:extLst>
              </a:tr>
              <a:tr h="212941">
                <a:tc rowSpan="2">
                  <a:txBody>
                    <a:bodyPr/>
                    <a:lstStyle/>
                    <a:p>
                      <a:pPr algn="ctr" fontAlgn="ctr"/>
                      <a:r>
                        <a:rPr lang="en-US" sz="900" b="1" i="0" u="none" strike="noStrike">
                          <a:solidFill>
                            <a:srgbClr val="000000"/>
                          </a:solidFill>
                          <a:effectLst/>
                          <a:latin typeface="Calibri" panose="020F0502020204030204" pitchFamily="34" charset="0"/>
                        </a:rPr>
                        <a:t>Directo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Product Nam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Application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r>
                        <a:rPr lang="en-US" sz="900" b="0" i="0" u="none" strike="noStrike">
                          <a:solidFill>
                            <a:srgbClr val="FFFFFF"/>
                          </a:solidFill>
                          <a:effectLst/>
                          <a:latin typeface="Calibri" panose="020F0502020204030204" pitchFamily="34" charset="0"/>
                        </a:rPr>
                        <a:t>Total assessments 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algn="ctr" rtl="0"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Automation Savings Target</a:t>
                      </a:r>
                      <a:r>
                        <a:rPr lang="en-US" sz="900" b="1" i="0" u="none" strike="noStrike">
                          <a:solidFill>
                            <a:srgbClr val="FFFF00"/>
                          </a:solidFill>
                          <a:effectLst/>
                          <a:latin typeface="Calibri" panose="020F0502020204030204" pitchFamily="34" charset="0"/>
                        </a:rPr>
                        <a:t>(70000)</a:t>
                      </a:r>
                      <a:endParaRPr lang="en-US" sz="900" b="1" i="0" u="none" strike="noStrike">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rtl="0" fontAlgn="ctr"/>
                      <a:r>
                        <a:rPr lang="en-US" sz="900" b="1" i="0" u="none" strike="noStrike" dirty="0">
                          <a:solidFill>
                            <a:srgbClr val="000000"/>
                          </a:solidFill>
                          <a:effectLst/>
                          <a:latin typeface="Calibri" panose="020F0502020204030204" pitchFamily="34" charset="0"/>
                        </a:rPr>
                        <a:t>DSO </a:t>
                      </a:r>
                      <a:r>
                        <a:rPr lang="en-US" sz="900" b="1" i="0" u="none" strike="noStrike" dirty="0" err="1">
                          <a:solidFill>
                            <a:srgbClr val="000000"/>
                          </a:solidFill>
                          <a:effectLst/>
                          <a:latin typeface="Calibri" panose="020F0502020204030204" pitchFamily="34" charset="0"/>
                        </a:rPr>
                        <a:t>Focals</a:t>
                      </a:r>
                      <a:r>
                        <a:rPr lang="en-US" sz="900" b="1" i="0" u="none" strike="noStrike" dirty="0">
                          <a:solidFill>
                            <a:srgbClr val="000000"/>
                          </a:solidFill>
                          <a:effectLst/>
                          <a:latin typeface="Calibri" panose="020F0502020204030204" pitchFamily="34" charset="0"/>
                        </a:rPr>
                        <a:t> Assign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gridSpan="2">
                  <a:txBody>
                    <a:bodyPr/>
                    <a:lstStyle/>
                    <a:p>
                      <a:pPr algn="ctr"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29138856"/>
                  </a:ext>
                </a:extLst>
              </a:tr>
              <a:tr h="399262">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i="0" u="none" strike="noStrike" dirty="0">
                          <a:solidFill>
                            <a:srgbClr val="000000"/>
                          </a:solidFill>
                          <a:effectLst/>
                          <a:latin typeface="Calibri" panose="020F0502020204030204" pitchFamily="34" charset="0"/>
                        </a:rPr>
                        <a:t>Primary Foc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4557218"/>
                  </a:ext>
                </a:extLst>
              </a:tr>
              <a:tr h="212941">
                <a:tc rowSpan="5">
                  <a:txBody>
                    <a:bodyPr/>
                    <a:lstStyle/>
                    <a:p>
                      <a:pPr algn="ctr" fontAlgn="ctr"/>
                      <a:r>
                        <a:rPr lang="en-US" sz="900" b="1" i="0" u="none" strike="noStrike" dirty="0">
                          <a:solidFill>
                            <a:srgbClr val="000000"/>
                          </a:solidFill>
                          <a:effectLst/>
                          <a:latin typeface="Calibri" panose="020F0502020204030204" pitchFamily="34" charset="0"/>
                        </a:rPr>
                        <a:t>Jennifer</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7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b"/>
                      <a:r>
                        <a:rPr lang="en-US" sz="900" b="1" i="0" u="none" strike="noStrike" dirty="0">
                          <a:solidFill>
                            <a:srgbClr val="000000"/>
                          </a:solidFill>
                          <a:effectLst/>
                          <a:latin typeface="Calibri" panose="020F0502020204030204" pitchFamily="34" charset="0"/>
                        </a:rPr>
                        <a:t> </a:t>
                      </a: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108233100"/>
                  </a:ext>
                </a:extLst>
              </a:tr>
              <a:tr h="399262">
                <a:tc vMerge="1">
                  <a:txBody>
                    <a:bodyPr/>
                    <a:lstStyle/>
                    <a:p>
                      <a:endParaRPr lang="en-US"/>
                    </a:p>
                  </a:txBody>
                  <a:tcPr/>
                </a:tc>
                <a:tc>
                  <a:txBody>
                    <a:bodyPr/>
                    <a:lstStyle/>
                    <a:p>
                      <a:pPr algn="ctr" fontAlgn="ctr"/>
                      <a:r>
                        <a:rPr lang="en-US" sz="900" b="0" i="0" u="none" strike="noStrike" dirty="0">
                          <a:solidFill>
                            <a:srgbClr val="000000"/>
                          </a:solidFill>
                          <a:effectLst/>
                          <a:latin typeface="Calibri" panose="020F0502020204030204" pitchFamily="34" charset="0"/>
                        </a:rPr>
                        <a:t>Regulatory and Safety</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4">
                  <a:txBody>
                    <a:bodyPr/>
                    <a:lstStyle/>
                    <a:p>
                      <a:pPr algn="ctr" rtl="0" fontAlgn="ctr"/>
                      <a:r>
                        <a:rPr lang="en-US" sz="900" b="0" i="0" u="none" strike="noStrike" dirty="0">
                          <a:solidFill>
                            <a:srgbClr val="000000"/>
                          </a:solidFill>
                          <a:effectLst/>
                          <a:latin typeface="Calibri" panose="020F0502020204030204" pitchFamily="34" charset="0"/>
                        </a:rPr>
                        <a:t>11285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2"/>
                        </a:rPr>
                        <a:t>Radhakrishnan, </a:t>
                      </a:r>
                      <a:r>
                        <a:rPr lang="en-US" sz="900" b="0" i="0" u="sng" strike="noStrike" dirty="0" err="1">
                          <a:solidFill>
                            <a:srgbClr val="0563C1"/>
                          </a:solidFill>
                          <a:effectLst/>
                          <a:latin typeface="Calibri" panose="020F0502020204030204" pitchFamily="34" charset="0"/>
                          <a:hlinkClick r:id="rId2"/>
                        </a:rPr>
                        <a:t>Chinjumol</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7770306"/>
                  </a:ext>
                </a:extLst>
              </a:tr>
              <a:tr h="212941">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Research and Technology</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9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3"/>
                        </a:rPr>
                        <a:t>Singh, Abhishek K </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84731607"/>
                  </a:ext>
                </a:extLst>
              </a:tr>
              <a:tr h="212941">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Test and Evaluat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4"/>
                        </a:rPr>
                        <a:t>Jha, Ravi N</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7356585"/>
                  </a:ext>
                </a:extLst>
              </a:tr>
              <a:tr h="221810">
                <a:tc vMerge="1">
                  <a:txBody>
                    <a:bodyPr/>
                    <a:lstStyle/>
                    <a:p>
                      <a:endParaRPr lang="en-US"/>
                    </a:p>
                  </a:txBody>
                  <a:tcPr/>
                </a:tc>
                <a:tc>
                  <a:txBody>
                    <a:bodyPr/>
                    <a:lstStyle/>
                    <a:p>
                      <a:pPr algn="ctr" fontAlgn="ctr"/>
                      <a:r>
                        <a:rPr lang="en-US" sz="900" b="0" i="0" u="none" strike="noStrike" dirty="0">
                          <a:solidFill>
                            <a:srgbClr val="000000"/>
                          </a:solidFill>
                          <a:effectLst/>
                          <a:latin typeface="Calibri" panose="020F0502020204030204" pitchFamily="34" charset="0"/>
                        </a:rPr>
                        <a:t>IPDM PLM</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1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5"/>
                        </a:rPr>
                        <a:t>Singh, Omji Kunjbihari</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47489699"/>
                  </a:ext>
                </a:extLst>
              </a:tr>
              <a:tr h="212941">
                <a:tc rowSpan="12">
                  <a:txBody>
                    <a:bodyPr/>
                    <a:lstStyle/>
                    <a:p>
                      <a:pPr algn="ctr" fontAlgn="ctr"/>
                      <a:r>
                        <a:rPr lang="en-US" sz="900" b="1" i="0" u="none" strike="noStrike">
                          <a:solidFill>
                            <a:srgbClr val="000000"/>
                          </a:solidFill>
                          <a:effectLst/>
                          <a:latin typeface="Calibri" panose="020F0502020204030204" pitchFamily="34" charset="0"/>
                        </a:rPr>
                        <a:t>Tatum</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3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4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5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990670981"/>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Authoring Process Plann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11">
                  <a:txBody>
                    <a:bodyPr/>
                    <a:lstStyle/>
                    <a:p>
                      <a:pPr algn="ctr" rtl="0" fontAlgn="ctr"/>
                      <a:r>
                        <a:rPr lang="en-US" sz="900" b="0" i="0" u="none" strike="noStrike" dirty="0">
                          <a:solidFill>
                            <a:srgbClr val="000000"/>
                          </a:solidFill>
                          <a:effectLst/>
                          <a:latin typeface="Calibri" panose="020F0502020204030204" pitchFamily="34" charset="0"/>
                        </a:rPr>
                        <a:t> </a:t>
                      </a:r>
                    </a:p>
                    <a:p>
                      <a:pPr algn="ctr" fontAlgn="ctr"/>
                      <a:r>
                        <a:rPr lang="en-US" sz="900" b="0" i="0" u="none" strike="noStrike" dirty="0">
                          <a:solidFill>
                            <a:srgbClr val="000000"/>
                          </a:solidFill>
                          <a:effectLst/>
                          <a:latin typeface="Arial" panose="020B060402020202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16450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6"/>
                        </a:rPr>
                        <a:t>Urimindi, Sreenivasulu</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5053701"/>
                  </a:ext>
                </a:extLst>
              </a:tr>
              <a:tr h="425883">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Data Distribution and Managemen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5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fontAlgn="ctr"/>
                      <a:endParaRPr lang="en-US" sz="900" b="0" i="0" u="none" strike="noStrike" dirty="0">
                        <a:solidFill>
                          <a:srgbClr val="000000"/>
                        </a:solidFill>
                        <a:effectLst/>
                        <a:latin typeface="Arial" panose="020B060402020202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rPr>
                        <a:t>Urimindi, Sreenivasulu </a:t>
                      </a:r>
                    </a:p>
                    <a:p>
                      <a:pPr algn="ctr" rtl="0" fontAlgn="ctr"/>
                      <a:r>
                        <a:rPr lang="en-US" sz="900" b="0" i="0" u="sng" strike="noStrike" dirty="0">
                          <a:solidFill>
                            <a:srgbClr val="0563C1"/>
                          </a:solidFill>
                          <a:effectLst/>
                          <a:latin typeface="Calibri" panose="020F0502020204030204" pitchFamily="34" charset="0"/>
                        </a:rPr>
                        <a:t>Vinod Thoma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54904613"/>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Automation Programm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7"/>
                        </a:rPr>
                        <a:t>Chougule, Priyanka Dhanpal</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38646104"/>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Customer Engineering (C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0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dirty="0">
                          <a:solidFill>
                            <a:srgbClr val="000000"/>
                          </a:solidFill>
                          <a:effectLst/>
                          <a:latin typeface="Calibri" panose="020F0502020204030204" pitchFamily="34" charset="0"/>
                        </a:rPr>
                        <a:t> 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b"/>
                      <a:r>
                        <a:rPr lang="en-US" sz="900" b="0" i="0" u="sng" strike="noStrike">
                          <a:solidFill>
                            <a:srgbClr val="0563C1"/>
                          </a:solidFill>
                          <a:effectLst/>
                          <a:latin typeface="Calibri" panose="020F0502020204030204" pitchFamily="34" charset="0"/>
                          <a:hlinkClick r:id="rId8"/>
                        </a:rPr>
                        <a:t>Nair, Aathira Manikandan</a:t>
                      </a:r>
                      <a:endParaRPr lang="en-US" sz="900" b="0" i="0" u="sng" strike="noStrike">
                        <a:solidFill>
                          <a:srgbClr val="0563C1"/>
                        </a:solidFill>
                        <a:effectLst/>
                        <a:latin typeface="Calibri" panose="020F0502020204030204" pitchFamily="34" charset="0"/>
                      </a:endParaRP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61947714"/>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3DX PLM</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9"/>
                        </a:rPr>
                        <a:t>Kaur, Harmeet</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1063169"/>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Electrical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0"/>
                        </a:rPr>
                        <a:t>K L, Bharath</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5457780"/>
                  </a:ext>
                </a:extLst>
              </a:tr>
              <a:tr h="212941">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Flight Engineering and Propuls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11"/>
                        </a:rPr>
                        <a:t>Mohiddin Basha, Mahammed Gulam</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9871938"/>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Mechanical and Structural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2"/>
                        </a:rPr>
                        <a:t>P, Ashwini</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02117372"/>
                  </a:ext>
                </a:extLst>
              </a:tr>
              <a:tr h="212941">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Systems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3"/>
                        </a:rPr>
                        <a:t>Prabhat, Kumar</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8729745"/>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Production System Simulat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900" b="0" i="0" u="none" strike="noStrike">
                          <a:solidFill>
                            <a:srgbClr val="000000"/>
                          </a:solidFill>
                          <a:effectLst/>
                          <a:latin typeface="Calibri" panose="020F0502020204030204" pitchFamily="34" charset="0"/>
                        </a:rPr>
                        <a:t> </a:t>
                      </a: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9402137"/>
                  </a:ext>
                </a:extLst>
              </a:tr>
              <a:tr h="221810">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Visualization and x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4"/>
                        </a:rPr>
                        <a:t>Rompicherla, Rakesh</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8923173"/>
                  </a:ext>
                </a:extLst>
              </a:tr>
              <a:tr h="221810">
                <a:tc>
                  <a:txBody>
                    <a:bodyPr/>
                    <a:lstStyle/>
                    <a:p>
                      <a:pPr algn="ctr"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5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8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8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dirty="0">
                          <a:solidFill>
                            <a:srgbClr val="000000"/>
                          </a:solidFill>
                          <a:effectLst/>
                          <a:latin typeface="Calibri" panose="020F0502020204030204" pitchFamily="34" charset="0"/>
                        </a:rPr>
                        <a:t>27735</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20</a:t>
                      </a:r>
                      <a:endParaRPr lang="en-US" sz="900" b="1"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484366138"/>
                  </a:ext>
                </a:extLst>
              </a:tr>
            </a:tbl>
          </a:graphicData>
        </a:graphic>
      </p:graphicFrame>
    </p:spTree>
    <p:extLst>
      <p:ext uri="{BB962C8B-B14F-4D97-AF65-F5344CB8AC3E}">
        <p14:creationId xmlns:p14="http://schemas.microsoft.com/office/powerpoint/2010/main" val="7187047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11D91-6571-4D4F-B926-78EDA518D49B}"/>
              </a:ext>
            </a:extLst>
          </p:cNvPr>
          <p:cNvSpPr>
            <a:spLocks noGrp="1"/>
          </p:cNvSpPr>
          <p:nvPr>
            <p:ph type="title"/>
          </p:nvPr>
        </p:nvSpPr>
        <p:spPr>
          <a:xfrm>
            <a:off x="520700" y="77504"/>
            <a:ext cx="11150600" cy="463593"/>
          </a:xfrm>
        </p:spPr>
        <p:txBody>
          <a:bodyPr/>
          <a:lstStyle/>
          <a:p>
            <a:r>
              <a:rPr lang="en-US" dirty="0"/>
              <a:t>Product support Progress</a:t>
            </a:r>
          </a:p>
        </p:txBody>
      </p:sp>
      <p:graphicFrame>
        <p:nvGraphicFramePr>
          <p:cNvPr id="4" name="Table 3">
            <a:extLst>
              <a:ext uri="{FF2B5EF4-FFF2-40B4-BE49-F238E27FC236}">
                <a16:creationId xmlns:a16="http://schemas.microsoft.com/office/drawing/2014/main" id="{52A00FB7-677B-4000-BF06-019D8BE07BD9}"/>
              </a:ext>
            </a:extLst>
          </p:cNvPr>
          <p:cNvGraphicFramePr>
            <a:graphicFrameLocks noGrp="1"/>
          </p:cNvGraphicFramePr>
          <p:nvPr>
            <p:extLst>
              <p:ext uri="{D42A27DB-BD31-4B8C-83A1-F6EECF244321}">
                <p14:modId xmlns:p14="http://schemas.microsoft.com/office/powerpoint/2010/main" val="1911174149"/>
              </p:ext>
            </p:extLst>
          </p:nvPr>
        </p:nvGraphicFramePr>
        <p:xfrm>
          <a:off x="156972" y="541097"/>
          <a:ext cx="11878056" cy="5554681"/>
        </p:xfrm>
        <a:graphic>
          <a:graphicData uri="http://schemas.openxmlformats.org/drawingml/2006/table">
            <a:tbl>
              <a:tblPr/>
              <a:tblGrid>
                <a:gridCol w="1818852">
                  <a:extLst>
                    <a:ext uri="{9D8B030D-6E8A-4147-A177-3AD203B41FA5}">
                      <a16:colId xmlns:a16="http://schemas.microsoft.com/office/drawing/2014/main" val="2095960399"/>
                    </a:ext>
                  </a:extLst>
                </a:gridCol>
                <a:gridCol w="1818852">
                  <a:extLst>
                    <a:ext uri="{9D8B030D-6E8A-4147-A177-3AD203B41FA5}">
                      <a16:colId xmlns:a16="http://schemas.microsoft.com/office/drawing/2014/main" val="468970229"/>
                    </a:ext>
                  </a:extLst>
                </a:gridCol>
                <a:gridCol w="1178412">
                  <a:extLst>
                    <a:ext uri="{9D8B030D-6E8A-4147-A177-3AD203B41FA5}">
                      <a16:colId xmlns:a16="http://schemas.microsoft.com/office/drawing/2014/main" val="3548101950"/>
                    </a:ext>
                  </a:extLst>
                </a:gridCol>
                <a:gridCol w="1178412">
                  <a:extLst>
                    <a:ext uri="{9D8B030D-6E8A-4147-A177-3AD203B41FA5}">
                      <a16:colId xmlns:a16="http://schemas.microsoft.com/office/drawing/2014/main" val="1890911412"/>
                    </a:ext>
                  </a:extLst>
                </a:gridCol>
                <a:gridCol w="623360">
                  <a:extLst>
                    <a:ext uri="{9D8B030D-6E8A-4147-A177-3AD203B41FA5}">
                      <a16:colId xmlns:a16="http://schemas.microsoft.com/office/drawing/2014/main" val="4010365659"/>
                    </a:ext>
                  </a:extLst>
                </a:gridCol>
                <a:gridCol w="853924">
                  <a:extLst>
                    <a:ext uri="{9D8B030D-6E8A-4147-A177-3AD203B41FA5}">
                      <a16:colId xmlns:a16="http://schemas.microsoft.com/office/drawing/2014/main" val="4160414900"/>
                    </a:ext>
                  </a:extLst>
                </a:gridCol>
                <a:gridCol w="1246728">
                  <a:extLst>
                    <a:ext uri="{9D8B030D-6E8A-4147-A177-3AD203B41FA5}">
                      <a16:colId xmlns:a16="http://schemas.microsoft.com/office/drawing/2014/main" val="638432962"/>
                    </a:ext>
                  </a:extLst>
                </a:gridCol>
                <a:gridCol w="1246728">
                  <a:extLst>
                    <a:ext uri="{9D8B030D-6E8A-4147-A177-3AD203B41FA5}">
                      <a16:colId xmlns:a16="http://schemas.microsoft.com/office/drawing/2014/main" val="1193588331"/>
                    </a:ext>
                  </a:extLst>
                </a:gridCol>
                <a:gridCol w="478197">
                  <a:extLst>
                    <a:ext uri="{9D8B030D-6E8A-4147-A177-3AD203B41FA5}">
                      <a16:colId xmlns:a16="http://schemas.microsoft.com/office/drawing/2014/main" val="2022402143"/>
                    </a:ext>
                  </a:extLst>
                </a:gridCol>
                <a:gridCol w="478197">
                  <a:extLst>
                    <a:ext uri="{9D8B030D-6E8A-4147-A177-3AD203B41FA5}">
                      <a16:colId xmlns:a16="http://schemas.microsoft.com/office/drawing/2014/main" val="2966417049"/>
                    </a:ext>
                  </a:extLst>
                </a:gridCol>
                <a:gridCol w="478197">
                  <a:extLst>
                    <a:ext uri="{9D8B030D-6E8A-4147-A177-3AD203B41FA5}">
                      <a16:colId xmlns:a16="http://schemas.microsoft.com/office/drawing/2014/main" val="4239531133"/>
                    </a:ext>
                  </a:extLst>
                </a:gridCol>
                <a:gridCol w="478197">
                  <a:extLst>
                    <a:ext uri="{9D8B030D-6E8A-4147-A177-3AD203B41FA5}">
                      <a16:colId xmlns:a16="http://schemas.microsoft.com/office/drawing/2014/main" val="1044579247"/>
                    </a:ext>
                  </a:extLst>
                </a:gridCol>
              </a:tblGrid>
              <a:tr h="254432">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900" b="1" i="0" u="none" strike="noStrike">
                          <a:solidFill>
                            <a:srgbClr val="000000"/>
                          </a:solidFill>
                          <a:effectLst/>
                          <a:latin typeface="Calibri" panose="020F0502020204030204" pitchFamily="34" charset="0"/>
                        </a:rPr>
                        <a:t>2024 Targe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rtl="0" fontAlgn="ctr"/>
                      <a:r>
                        <a:rPr lang="en-US" sz="900" b="1"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4">
                  <a:txBody>
                    <a:bodyPr/>
                    <a:lstStyle/>
                    <a:p>
                      <a:pPr algn="ctr" fontAlgn="ctr"/>
                      <a:r>
                        <a:rPr lang="en-US" sz="900" b="1" i="0" u="none" strike="noStrike" dirty="0">
                          <a:solidFill>
                            <a:srgbClr val="000000"/>
                          </a:solidFill>
                          <a:effectLst/>
                          <a:latin typeface="Calibri" panose="020F0502020204030204" pitchFamily="34" charset="0"/>
                        </a:rPr>
                        <a:t>2024 Actual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227685577"/>
                  </a:ext>
                </a:extLst>
              </a:tr>
              <a:tr h="303425">
                <a:tc rowSpan="2">
                  <a:txBody>
                    <a:bodyPr/>
                    <a:lstStyle/>
                    <a:p>
                      <a:pPr algn="ctr" fontAlgn="ctr"/>
                      <a:r>
                        <a:rPr lang="en-US" sz="900" b="1" i="0" u="none" strike="noStrike" dirty="0">
                          <a:solidFill>
                            <a:srgbClr val="000000"/>
                          </a:solidFill>
                          <a:effectLst/>
                          <a:latin typeface="Calibri" panose="020F0502020204030204" pitchFamily="34" charset="0"/>
                        </a:rPr>
                        <a:t>Directo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Product Nam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Application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r>
                        <a:rPr lang="en-US" sz="900" b="0" i="0" u="none" strike="noStrike">
                          <a:solidFill>
                            <a:srgbClr val="FFFFFF"/>
                          </a:solidFill>
                          <a:effectLst/>
                          <a:latin typeface="Calibri" panose="020F0502020204030204" pitchFamily="34" charset="0"/>
                        </a:rPr>
                        <a:t>Total assessments 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algn="ctr" rtl="0"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Automation Savings Target</a:t>
                      </a:r>
                      <a:r>
                        <a:rPr lang="en-US" sz="900" b="1" i="0" u="none" strike="noStrike">
                          <a:solidFill>
                            <a:srgbClr val="FFFF00"/>
                          </a:solidFill>
                          <a:effectLst/>
                          <a:latin typeface="Calibri" panose="020F0502020204030204" pitchFamily="34" charset="0"/>
                        </a:rPr>
                        <a:t>(70000)</a:t>
                      </a:r>
                      <a:endParaRPr lang="en-US" sz="900" b="1" i="0" u="none" strike="noStrike">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rtl="0" fontAlgn="ctr"/>
                      <a:r>
                        <a:rPr lang="en-US" sz="900" b="1" i="0" u="none" strike="noStrike">
                          <a:solidFill>
                            <a:srgbClr val="000000"/>
                          </a:solidFill>
                          <a:effectLst/>
                          <a:latin typeface="Calibri" panose="020F0502020204030204" pitchFamily="34" charset="0"/>
                        </a:rPr>
                        <a:t>DSO Focals Assign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gridSpan="2">
                  <a:txBody>
                    <a:bodyPr/>
                    <a:lstStyle/>
                    <a:p>
                      <a:pPr algn="ctr"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678939420"/>
                  </a:ext>
                </a:extLst>
              </a:tr>
              <a:tr h="568919">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i="0" u="none" strike="noStrike">
                          <a:solidFill>
                            <a:srgbClr val="000000"/>
                          </a:solidFill>
                          <a:effectLst/>
                          <a:latin typeface="Calibri" panose="020F0502020204030204" pitchFamily="34" charset="0"/>
                        </a:rPr>
                        <a:t>Primary Foc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10980879"/>
                  </a:ext>
                </a:extLst>
              </a:tr>
              <a:tr h="303425">
                <a:tc rowSpan="5">
                  <a:txBody>
                    <a:bodyPr/>
                    <a:lstStyle/>
                    <a:p>
                      <a:pPr algn="ctr" fontAlgn="ctr"/>
                      <a:r>
                        <a:rPr lang="en-US" sz="900" b="1" i="0" u="none" strike="noStrike">
                          <a:solidFill>
                            <a:srgbClr val="000000"/>
                          </a:solidFill>
                          <a:effectLst/>
                          <a:latin typeface="Calibri" panose="020F0502020204030204" pitchFamily="34" charset="0"/>
                        </a:rPr>
                        <a:t>Buba</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14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7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2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35000</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sng" strike="noStrike">
                          <a:solidFill>
                            <a:srgbClr val="0563C1"/>
                          </a:solidFill>
                          <a:effectLst/>
                          <a:latin typeface="Calibri" panose="020F0502020204030204" pitchFamily="34" charset="0"/>
                        </a:rPr>
                        <a:t> </a:t>
                      </a:r>
                    </a:p>
                  </a:txBody>
                  <a:tcPr marL="1440" marR="1440" marT="1440" marB="0" anchor="ctr">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4</a:t>
                      </a:r>
                    </a:p>
                  </a:txBody>
                  <a:tcPr marL="1440" marR="1440" marT="1440" marB="0" anchor="ctr">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endParaRPr lang="en-US" sz="900" b="1"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34608752"/>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Digital Market Produc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4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3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4">
                  <a:txBody>
                    <a:bodyPr/>
                    <a:lstStyle/>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77683</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2"/>
                        </a:rPr>
                        <a:t>Popeck (US), Joh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89404268"/>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Customer Operation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3"/>
                        </a:rPr>
                        <a:t>Balraj, Bharath K</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3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8143658"/>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Technical Publication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4"/>
                        </a:rPr>
                        <a:t>Kandan, Narendra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93723103"/>
                  </a:ext>
                </a:extLst>
              </a:tr>
              <a:tr h="31606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Training &amp; Othe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5"/>
                        </a:rPr>
                        <a:t>Rooge, Padma Prasad</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5095694"/>
                  </a:ext>
                </a:extLst>
              </a:tr>
              <a:tr h="303425">
                <a:tc rowSpan="8">
                  <a:txBody>
                    <a:bodyPr/>
                    <a:lstStyle/>
                    <a:p>
                      <a:pPr algn="ctr" fontAlgn="ctr"/>
                      <a:r>
                        <a:rPr lang="en-US" sz="900" b="1" i="0" u="none" strike="noStrike" dirty="0">
                          <a:solidFill>
                            <a:srgbClr val="000000"/>
                          </a:solidFill>
                          <a:effectLst/>
                          <a:latin typeface="Calibri" panose="020F0502020204030204" pitchFamily="34" charset="0"/>
                        </a:rPr>
                        <a:t>Jeff</a:t>
                      </a:r>
                    </a:p>
                  </a:txBody>
                  <a:tcPr marL="1440" marR="1440" marT="14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2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7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3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35000</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3670370281"/>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 Automation Programming</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4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7">
                  <a:txBody>
                    <a:bodyPr/>
                    <a:lstStyle/>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FF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21307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6"/>
                        </a:rPr>
                        <a:t>H D, Sarik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62570952"/>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Innovation Hub</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vMerge="1">
                  <a:txBody>
                    <a:bodyPr/>
                    <a:lstStyle/>
                    <a:p>
                      <a:pPr algn="ctr" rtl="0" fontAlgn="ctr"/>
                      <a:endParaRPr lang="en-US" sz="900" b="0" i="0" u="none" strike="noStrike" dirty="0">
                        <a:solidFill>
                          <a:srgbClr val="FF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4231868"/>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Material Management</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7"/>
                        </a:rPr>
                        <a:t>Jenkins (US), Renee M</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20401858"/>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Maintenance Repair and Overhaul</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8"/>
                        </a:rPr>
                        <a:t>Fink (US), Brendan 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53949543"/>
                  </a:ext>
                </a:extLst>
              </a:tr>
              <a:tr h="568919">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Integrated Logistics Planning and Management</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3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9"/>
                        </a:rPr>
                        <a:t>Nadampalli Kumarraju, Lavany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23079353"/>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Product Support Analysis</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10"/>
                        </a:rPr>
                        <a:t>Varghese, Jessy </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74403574"/>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Embedded Program Support</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8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rPr>
                        <a:t>Amaragatti, Sharanappa</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48789487"/>
                  </a:ext>
                </a:extLst>
              </a:tr>
              <a:tr h="205247">
                <a:tc>
                  <a:txBody>
                    <a:bodyPr/>
                    <a:lstStyle/>
                    <a:p>
                      <a:pPr algn="ctr" fontAlgn="ctr"/>
                      <a:r>
                        <a:rPr lang="en-US" sz="900" b="1" i="0" u="none" strike="noStrike" dirty="0">
                          <a:solidFill>
                            <a:srgbClr val="000000"/>
                          </a:solidFill>
                          <a:effectLst/>
                          <a:latin typeface="Calibri" panose="020F0502020204030204" pitchFamily="34" charset="0"/>
                        </a:rPr>
                        <a:t> </a:t>
                      </a:r>
                    </a:p>
                  </a:txBody>
                  <a:tcPr marL="1440" marR="1440" marT="14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1" i="0" u="none" strike="noStrike" dirty="0">
                          <a:solidFill>
                            <a:srgbClr val="000000"/>
                          </a:solidFill>
                          <a:effectLst/>
                          <a:latin typeface="Calibri" panose="020F0502020204030204" pitchFamily="34" charset="0"/>
                        </a:rPr>
                        <a:t>TOTAL</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BF7"/>
                    </a:solidFill>
                  </a:tcPr>
                </a:tc>
                <a:tc>
                  <a:txBody>
                    <a:bodyPr/>
                    <a:lstStyle/>
                    <a:p>
                      <a:pPr algn="ctr" rtl="0" fontAlgn="ctr"/>
                      <a:r>
                        <a:rPr lang="en-US" sz="900" b="1" i="0" u="none" strike="noStrike" dirty="0">
                          <a:solidFill>
                            <a:srgbClr val="000000"/>
                          </a:solidFill>
                          <a:effectLst/>
                          <a:latin typeface="Calibri" panose="020F0502020204030204" pitchFamily="34" charset="0"/>
                        </a:rPr>
                        <a:t>37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BF7"/>
                    </a:solidFill>
                  </a:tcPr>
                </a:tc>
                <a:tc>
                  <a:txBody>
                    <a:bodyPr/>
                    <a:lstStyle/>
                    <a:p>
                      <a:pPr algn="ctr" rtl="0" fontAlgn="ctr"/>
                      <a:r>
                        <a:rPr lang="en-US" sz="900" b="1" i="0" u="none" strike="noStrike" dirty="0">
                          <a:solidFill>
                            <a:srgbClr val="000000"/>
                          </a:solidFill>
                          <a:effectLst/>
                          <a:latin typeface="Calibri" panose="020F0502020204030204" pitchFamily="34" charset="0"/>
                        </a:rPr>
                        <a:t>14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BF7"/>
                    </a:solidFill>
                  </a:tcPr>
                </a:tc>
                <a:tc>
                  <a:txBody>
                    <a:bodyPr/>
                    <a:lstStyle/>
                    <a:p>
                      <a:pPr algn="ctr" rtl="0" fontAlgn="ctr"/>
                      <a:r>
                        <a:rPr lang="en-US" sz="900" b="1" i="0" u="none" strike="noStrike" dirty="0">
                          <a:solidFill>
                            <a:srgbClr val="000000"/>
                          </a:solidFill>
                          <a:effectLst/>
                          <a:latin typeface="Calibri" panose="020F0502020204030204" pitchFamily="34" charset="0"/>
                        </a:rPr>
                        <a:t>   5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7B800"/>
                    </a:solidFill>
                  </a:tcPr>
                </a:tc>
                <a:tc>
                  <a:txBody>
                    <a:bodyPr/>
                    <a:lstStyle/>
                    <a:p>
                      <a:pPr algn="ctr" rtl="0" fontAlgn="ctr"/>
                      <a:r>
                        <a:rPr lang="en-US" sz="900" b="1" i="0" u="none" strike="noStrike" dirty="0">
                          <a:solidFill>
                            <a:srgbClr val="000000"/>
                          </a:solidFill>
                          <a:effectLst/>
                          <a:latin typeface="Calibri" panose="020F0502020204030204" pitchFamily="34" charset="0"/>
                        </a:rPr>
                        <a:t> 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7B800"/>
                    </a:solidFill>
                  </a:tcPr>
                </a:tc>
                <a:tc>
                  <a:txBody>
                    <a:bodyPr/>
                    <a:lstStyle/>
                    <a:p>
                      <a:pPr algn="ctr" rtl="0" fontAlgn="ctr"/>
                      <a:r>
                        <a:rPr lang="en-US" sz="900" b="1" i="0" u="none" strike="noStrike" dirty="0">
                          <a:solidFill>
                            <a:srgbClr val="000000"/>
                          </a:solidFill>
                          <a:effectLst/>
                          <a:latin typeface="Calibri" panose="020F0502020204030204" pitchFamily="34" charset="0"/>
                        </a:rPr>
                        <a:t> 98990</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7B800"/>
                    </a:solidFill>
                  </a:tcPr>
                </a:tc>
                <a:tc>
                  <a:txBody>
                    <a:bodyPr/>
                    <a:lstStyle/>
                    <a:p>
                      <a:pPr algn="ctr" fontAlgn="b"/>
                      <a:r>
                        <a:rPr lang="en-US" sz="900" b="1" i="0" u="none" strike="noStrike" dirty="0">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extLst>
                  <a:ext uri="{0D108BD9-81ED-4DB2-BD59-A6C34878D82A}">
                    <a16:rowId xmlns:a16="http://schemas.microsoft.com/office/drawing/2014/main" val="2146687931"/>
                  </a:ext>
                </a:extLst>
              </a:tr>
            </a:tbl>
          </a:graphicData>
        </a:graphic>
      </p:graphicFrame>
    </p:spTree>
    <p:extLst>
      <p:ext uri="{BB962C8B-B14F-4D97-AF65-F5344CB8AC3E}">
        <p14:creationId xmlns:p14="http://schemas.microsoft.com/office/powerpoint/2010/main" val="7652342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B1B8F-DD5D-BDA7-C22E-1EEE4ED037F3}"/>
              </a:ext>
            </a:extLst>
          </p:cNvPr>
          <p:cNvSpPr>
            <a:spLocks noGrp="1"/>
          </p:cNvSpPr>
          <p:nvPr>
            <p:ph type="title"/>
          </p:nvPr>
        </p:nvSpPr>
        <p:spPr>
          <a:xfrm>
            <a:off x="123826" y="70373"/>
            <a:ext cx="11150600" cy="505854"/>
          </a:xfrm>
        </p:spPr>
        <p:txBody>
          <a:bodyPr/>
          <a:lstStyle/>
          <a:p>
            <a:r>
              <a:rPr lang="en-US" sz="2400" dirty="0" err="1"/>
              <a:t>DevSecops</a:t>
            </a:r>
            <a:r>
              <a:rPr lang="en-US" sz="2400" dirty="0"/>
              <a:t> Pilots( Embedded Support)</a:t>
            </a:r>
          </a:p>
        </p:txBody>
      </p:sp>
      <p:sp>
        <p:nvSpPr>
          <p:cNvPr id="5" name="Rectangle: Rounded Corners 4">
            <a:extLst>
              <a:ext uri="{FF2B5EF4-FFF2-40B4-BE49-F238E27FC236}">
                <a16:creationId xmlns:a16="http://schemas.microsoft.com/office/drawing/2014/main" id="{F416EC8D-261A-1DBF-CC3D-8887677B11BA}"/>
              </a:ext>
            </a:extLst>
          </p:cNvPr>
          <p:cNvSpPr/>
          <p:nvPr/>
        </p:nvSpPr>
        <p:spPr>
          <a:xfrm>
            <a:off x="8309712" y="512778"/>
            <a:ext cx="3053704"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dirty="0">
                <a:solidFill>
                  <a:schemeClr val="bg1"/>
                </a:solidFill>
              </a:rPr>
              <a:t>Next Steps</a:t>
            </a:r>
            <a:endParaRPr lang="en-US" sz="1600" dirty="0">
              <a:solidFill>
                <a:schemeClr val="bg1"/>
              </a:solidFill>
            </a:endParaRPr>
          </a:p>
        </p:txBody>
      </p:sp>
      <p:cxnSp>
        <p:nvCxnSpPr>
          <p:cNvPr id="6" name="Straight Connector 5">
            <a:extLst>
              <a:ext uri="{FF2B5EF4-FFF2-40B4-BE49-F238E27FC236}">
                <a16:creationId xmlns:a16="http://schemas.microsoft.com/office/drawing/2014/main" id="{2C52EC50-7879-7980-5F44-2DBA8B7660FF}"/>
              </a:ext>
            </a:extLst>
          </p:cNvPr>
          <p:cNvCxnSpPr>
            <a:cxnSpLocks/>
          </p:cNvCxnSpPr>
          <p:nvPr/>
        </p:nvCxnSpPr>
        <p:spPr>
          <a:xfrm>
            <a:off x="7533705" y="3110960"/>
            <a:ext cx="4308864" cy="0"/>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1" name="Rectangle: Rounded Corners 10">
            <a:extLst>
              <a:ext uri="{FF2B5EF4-FFF2-40B4-BE49-F238E27FC236}">
                <a16:creationId xmlns:a16="http://schemas.microsoft.com/office/drawing/2014/main" id="{FDEDCB47-B965-DF70-064C-01BDED4707AD}"/>
              </a:ext>
            </a:extLst>
          </p:cNvPr>
          <p:cNvSpPr/>
          <p:nvPr/>
        </p:nvSpPr>
        <p:spPr>
          <a:xfrm>
            <a:off x="7533705" y="2534394"/>
            <a:ext cx="438150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dirty="0">
                <a:solidFill>
                  <a:schemeClr val="bg1"/>
                </a:solidFill>
              </a:rPr>
              <a:t>Criteria for embedded Support </a:t>
            </a:r>
            <a:endParaRPr lang="en-US" sz="1600" dirty="0">
              <a:solidFill>
                <a:schemeClr val="bg1"/>
              </a:solidFill>
            </a:endParaRPr>
          </a:p>
        </p:txBody>
      </p:sp>
      <p:sp>
        <p:nvSpPr>
          <p:cNvPr id="12" name="Rectangle: Rounded Corners 11">
            <a:extLst>
              <a:ext uri="{FF2B5EF4-FFF2-40B4-BE49-F238E27FC236}">
                <a16:creationId xmlns:a16="http://schemas.microsoft.com/office/drawing/2014/main" id="{3E9E7FC8-38D8-B3DD-0E42-DAED87020479}"/>
              </a:ext>
            </a:extLst>
          </p:cNvPr>
          <p:cNvSpPr/>
          <p:nvPr/>
        </p:nvSpPr>
        <p:spPr>
          <a:xfrm>
            <a:off x="7972253" y="1007454"/>
            <a:ext cx="3728621" cy="1377262"/>
          </a:xfrm>
          <a:prstGeom prst="roundRect">
            <a:avLst>
              <a:gd name="adj" fmla="val 7856"/>
            </a:avLst>
          </a:prstGeom>
          <a:solidFill>
            <a:srgbClr val="A5ACB0">
              <a:lumMod val="60000"/>
              <a:lumOff val="40000"/>
              <a:alpha val="50000"/>
            </a:srgbClr>
          </a:solidFill>
          <a:ln>
            <a:noFill/>
          </a:ln>
          <a:effectLst/>
        </p:spPr>
        <p:txBody>
          <a:bodyPr rtlCol="0" anchor="ctr"/>
          <a:lstStyle/>
          <a:p>
            <a:pPr marR="0" lvl="0">
              <a:spcBef>
                <a:spcPts val="0"/>
              </a:spcBef>
              <a:spcAft>
                <a:spcPts val="0"/>
              </a:spcAft>
            </a:pPr>
            <a:endParaRPr lang="en-US" dirty="0">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rPr>
              <a:t>Adopt learnings to larger applications and share strategy in upcoming sessions </a:t>
            </a:r>
            <a:endParaRPr lang="en-US" sz="1800" dirty="0">
              <a:effectLst/>
              <a:latin typeface="Calibri" panose="020F0502020204030204" pitchFamily="34" charset="0"/>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800" dirty="0">
                <a:effectLst/>
                <a:latin typeface="Calibri" panose="020F0502020204030204" pitchFamily="34" charset="0"/>
                <a:ea typeface="Times New Roman" panose="02020603050405020304" pitchFamily="18" charset="0"/>
              </a:rPr>
              <a:t>Identify High ROI application that need embedded support</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pic>
        <p:nvPicPr>
          <p:cNvPr id="1026" name="Picture 2">
            <a:extLst>
              <a:ext uri="{FF2B5EF4-FFF2-40B4-BE49-F238E27FC236}">
                <a16:creationId xmlns:a16="http://schemas.microsoft.com/office/drawing/2014/main" id="{7D8DF372-78E1-DC45-B6A0-741D99C2315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56909" y="3188960"/>
            <a:ext cx="4935092" cy="2832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AA05033D-E9FF-FEB8-AFCA-DF060F11A386}"/>
              </a:ext>
            </a:extLst>
          </p:cNvPr>
          <p:cNvPicPr>
            <a:picLocks noChangeAspect="1"/>
          </p:cNvPicPr>
          <p:nvPr/>
        </p:nvPicPr>
        <p:blipFill>
          <a:blip r:embed="rId3"/>
          <a:stretch>
            <a:fillRect/>
          </a:stretch>
        </p:blipFill>
        <p:spPr>
          <a:xfrm>
            <a:off x="123826" y="576227"/>
            <a:ext cx="7253518" cy="5558759"/>
          </a:xfrm>
          <a:prstGeom prst="rect">
            <a:avLst/>
          </a:prstGeom>
        </p:spPr>
      </p:pic>
    </p:spTree>
    <p:extLst>
      <p:ext uri="{BB962C8B-B14F-4D97-AF65-F5344CB8AC3E}">
        <p14:creationId xmlns:p14="http://schemas.microsoft.com/office/powerpoint/2010/main" val="1426057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3A73C783-7180-4873-004C-1419D995DAA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6" name="Object 6" hidden="1">
                        <a:extLst>
                          <a:ext uri="{FF2B5EF4-FFF2-40B4-BE49-F238E27FC236}">
                            <a16:creationId xmlns:a16="http://schemas.microsoft.com/office/drawing/2014/main" id="{3A73C783-7180-4873-004C-1419D995DAA0}"/>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81057277-16AD-8EFB-6392-7BADEAE5C757}"/>
              </a:ext>
            </a:extLst>
          </p:cNvPr>
          <p:cNvSpPr>
            <a:spLocks/>
          </p:cNvSpPr>
          <p:nvPr/>
        </p:nvSpPr>
        <p:spPr>
          <a:xfrm>
            <a:off x="8558082" y="1485396"/>
            <a:ext cx="3246223" cy="5024545"/>
          </a:xfrm>
          <a:prstGeom prst="rect">
            <a:avLst/>
          </a:prstGeom>
          <a:solidFill>
            <a:schemeClr val="accent1">
              <a:lumMod val="20000"/>
              <a:lumOff val="80000"/>
              <a:alpha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 name="2. Slide Title">
            <a:extLst>
              <a:ext uri="{FF2B5EF4-FFF2-40B4-BE49-F238E27FC236}">
                <a16:creationId xmlns:a16="http://schemas.microsoft.com/office/drawing/2014/main" id="{DB5B8595-24EC-7CEF-5439-40A88099C0D7}"/>
              </a:ext>
            </a:extLst>
          </p:cNvPr>
          <p:cNvSpPr>
            <a:spLocks noGrp="1"/>
          </p:cNvSpPr>
          <p:nvPr>
            <p:ph type="title"/>
            <p:custDataLst>
              <p:tags r:id="rId2"/>
            </p:custDataLst>
          </p:nvPr>
        </p:nvSpPr>
        <p:spPr/>
        <p:txBody>
          <a:bodyPr vert="horz"/>
          <a:lstStyle/>
          <a:p>
            <a:r>
              <a:rPr lang="en-US" dirty="0" err="1"/>
              <a:t>DevSecOps</a:t>
            </a:r>
            <a:r>
              <a:rPr lang="en-US" dirty="0"/>
              <a:t> capability building: Out of all the support models, Embedded support has the most promise for Engineering</a:t>
            </a:r>
          </a:p>
        </p:txBody>
      </p:sp>
      <p:cxnSp>
        <p:nvCxnSpPr>
          <p:cNvPr id="86" name="Straight Connector 85">
            <a:extLst>
              <a:ext uri="{FF2B5EF4-FFF2-40B4-BE49-F238E27FC236}">
                <a16:creationId xmlns:a16="http://schemas.microsoft.com/office/drawing/2014/main" id="{EC270085-BC2B-9BBD-D0AF-983B48DB156E}"/>
              </a:ext>
            </a:extLst>
          </p:cNvPr>
          <p:cNvCxnSpPr>
            <a:cxnSpLocks/>
          </p:cNvCxnSpPr>
          <p:nvPr/>
        </p:nvCxnSpPr>
        <p:spPr>
          <a:xfrm>
            <a:off x="8549808" y="2639537"/>
            <a:ext cx="3260012" cy="0"/>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053E807A-79D6-651A-D2E6-B2AA3E3C9E35}"/>
              </a:ext>
            </a:extLst>
          </p:cNvPr>
          <p:cNvCxnSpPr>
            <a:cxnSpLocks/>
          </p:cNvCxnSpPr>
          <p:nvPr/>
        </p:nvCxnSpPr>
        <p:spPr>
          <a:xfrm>
            <a:off x="8549809" y="2639537"/>
            <a:ext cx="0" cy="580585"/>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013F0801-6E90-6B4A-8A0C-4F3C0FDDC373}"/>
              </a:ext>
            </a:extLst>
          </p:cNvPr>
          <p:cNvCxnSpPr>
            <a:cxnSpLocks/>
          </p:cNvCxnSpPr>
          <p:nvPr/>
        </p:nvCxnSpPr>
        <p:spPr>
          <a:xfrm>
            <a:off x="554734" y="3785102"/>
            <a:ext cx="4907621" cy="0"/>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CC044DEB-499B-1060-C748-CD261276B3D4}"/>
              </a:ext>
            </a:extLst>
          </p:cNvPr>
          <p:cNvCxnSpPr>
            <a:cxnSpLocks/>
          </p:cNvCxnSpPr>
          <p:nvPr/>
        </p:nvCxnSpPr>
        <p:spPr>
          <a:xfrm>
            <a:off x="5462354" y="3220122"/>
            <a:ext cx="3087455" cy="0"/>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A03BE4DC-6178-987C-06C9-687F1CCB66B8}"/>
              </a:ext>
            </a:extLst>
          </p:cNvPr>
          <p:cNvCxnSpPr>
            <a:cxnSpLocks/>
          </p:cNvCxnSpPr>
          <p:nvPr/>
        </p:nvCxnSpPr>
        <p:spPr>
          <a:xfrm>
            <a:off x="5462354" y="3204517"/>
            <a:ext cx="0" cy="580585"/>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5" name="TextBox 174">
            <a:extLst>
              <a:ext uri="{FF2B5EF4-FFF2-40B4-BE49-F238E27FC236}">
                <a16:creationId xmlns:a16="http://schemas.microsoft.com/office/drawing/2014/main" id="{F9AE4F7D-8E84-DD7F-6EC7-91C6929C1058}"/>
              </a:ext>
            </a:extLst>
          </p:cNvPr>
          <p:cNvSpPr txBox="1">
            <a:spLocks/>
          </p:cNvSpPr>
          <p:nvPr/>
        </p:nvSpPr>
        <p:spPr>
          <a:xfrm>
            <a:off x="3956895" y="3240214"/>
            <a:ext cx="1161709" cy="430887"/>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3F464B"/>
              </a:buClr>
              <a:buSzPct val="100000"/>
              <a:buFont typeface="Segoe UI" panose="020B0502040204020203" pitchFamily="34" charset="0"/>
              <a:buNone/>
              <a:tabLst/>
              <a:defRPr/>
            </a:pPr>
            <a:r>
              <a:rPr kumimoji="0" lang="en-US" sz="1400" b="1"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rPr>
              <a:t>Best Practice Guidance</a:t>
            </a:r>
            <a:endParaRPr kumimoji="0" lang="en-US" sz="1400" b="0"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176" name="TextBox 175">
            <a:extLst>
              <a:ext uri="{FF2B5EF4-FFF2-40B4-BE49-F238E27FC236}">
                <a16:creationId xmlns:a16="http://schemas.microsoft.com/office/drawing/2014/main" id="{DF99A2DB-4C30-108A-8D73-A8187F2D913A}"/>
              </a:ext>
            </a:extLst>
          </p:cNvPr>
          <p:cNvSpPr txBox="1">
            <a:spLocks/>
          </p:cNvSpPr>
          <p:nvPr/>
        </p:nvSpPr>
        <p:spPr>
          <a:xfrm>
            <a:off x="6713411" y="2666341"/>
            <a:ext cx="1518819" cy="430887"/>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Consulting / On-demand Support</a:t>
            </a:r>
          </a:p>
        </p:txBody>
      </p:sp>
      <p:sp>
        <p:nvSpPr>
          <p:cNvPr id="177" name="TextBox 176">
            <a:extLst>
              <a:ext uri="{FF2B5EF4-FFF2-40B4-BE49-F238E27FC236}">
                <a16:creationId xmlns:a16="http://schemas.microsoft.com/office/drawing/2014/main" id="{A4C360F6-359A-9784-8DF1-9FCD1D16700C}"/>
              </a:ext>
            </a:extLst>
          </p:cNvPr>
          <p:cNvSpPr txBox="1">
            <a:spLocks/>
          </p:cNvSpPr>
          <p:nvPr/>
        </p:nvSpPr>
        <p:spPr>
          <a:xfrm>
            <a:off x="10122876" y="2049870"/>
            <a:ext cx="1514388" cy="430887"/>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Embedded Support</a:t>
            </a:r>
          </a:p>
        </p:txBody>
      </p:sp>
      <p:sp>
        <p:nvSpPr>
          <p:cNvPr id="156" name="TextBox 155">
            <a:extLst>
              <a:ext uri="{FF2B5EF4-FFF2-40B4-BE49-F238E27FC236}">
                <a16:creationId xmlns:a16="http://schemas.microsoft.com/office/drawing/2014/main" id="{52845791-C219-936A-CCDD-4DA9C8811BB3}"/>
              </a:ext>
            </a:extLst>
          </p:cNvPr>
          <p:cNvSpPr txBox="1">
            <a:spLocks/>
          </p:cNvSpPr>
          <p:nvPr/>
        </p:nvSpPr>
        <p:spPr>
          <a:xfrm>
            <a:off x="2374900" y="3925775"/>
            <a:ext cx="3022600" cy="123110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marR="0" lvl="0" indent="-285750" algn="l" defTabSz="914400" rtl="0" eaLnBrk="1" fontAlgn="auto" latinLnBrk="0" hangingPunct="1">
              <a:lnSpc>
                <a:spcPct val="100000"/>
              </a:lnSpc>
              <a:spcBef>
                <a:spcPts val="300"/>
              </a:spcBef>
              <a:spcAft>
                <a:spcPts val="900"/>
              </a:spcAft>
              <a:buClr>
                <a:srgbClr val="0039A6"/>
              </a:buClr>
              <a:buSzPct val="100000"/>
              <a:buFont typeface="Wingdings"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Metrics, targets and progress </a:t>
            </a: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tracking </a:t>
            </a:r>
          </a:p>
          <a:p>
            <a:pPr marL="285750" marR="0" lvl="0" indent="-285750" algn="l" defTabSz="914400" rtl="0" eaLnBrk="1" fontAlgn="auto" latinLnBrk="0" hangingPunct="1">
              <a:lnSpc>
                <a:spcPct val="100000"/>
              </a:lnSpc>
              <a:spcBef>
                <a:spcPts val="300"/>
              </a:spcBef>
              <a:spcAft>
                <a:spcPts val="900"/>
              </a:spcAft>
              <a:buClr>
                <a:srgbClr val="0039A6"/>
              </a:buClr>
              <a:buSzPct val="100000"/>
              <a:buFont typeface="Wingdings"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tandards, best practices </a:t>
            </a: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nd support for tooling and processes</a:t>
            </a:r>
          </a:p>
          <a:p>
            <a:pPr marL="285750" marR="0" lvl="0" indent="-285750" algn="l" defTabSz="914400" rtl="0" eaLnBrk="1" fontAlgn="auto" latinLnBrk="0" hangingPunct="1">
              <a:lnSpc>
                <a:spcPct val="100000"/>
              </a:lnSpc>
              <a:spcBef>
                <a:spcPts val="300"/>
              </a:spcBef>
              <a:spcAft>
                <a:spcPts val="900"/>
              </a:spcAft>
              <a:buClr>
                <a:srgbClr val="0039A6"/>
              </a:buClr>
              <a:buSzPct val="100000"/>
              <a:buFont typeface="Wingdings"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elf-serve recipes</a:t>
            </a: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to identify software excellence opportunities across SDLC</a:t>
            </a:r>
          </a:p>
        </p:txBody>
      </p:sp>
      <p:sp>
        <p:nvSpPr>
          <p:cNvPr id="179" name="TextBox 1134">
            <a:extLst>
              <a:ext uri="{FF2B5EF4-FFF2-40B4-BE49-F238E27FC236}">
                <a16:creationId xmlns:a16="http://schemas.microsoft.com/office/drawing/2014/main" id="{3B8EB4FA-1C3D-D93E-276E-95F025E51335}"/>
              </a:ext>
            </a:extLst>
          </p:cNvPr>
          <p:cNvSpPr txBox="1">
            <a:spLocks/>
          </p:cNvSpPr>
          <p:nvPr/>
        </p:nvSpPr>
        <p:spPr>
          <a:xfrm>
            <a:off x="5568144" y="3349306"/>
            <a:ext cx="3022600" cy="1708160"/>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900"/>
              </a:spcAft>
              <a:buClr>
                <a:srgbClr val="0039A6"/>
              </a:buClr>
              <a:buSzTx/>
              <a:buFont typeface="Wingdings"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Office hours </a:t>
            </a:r>
            <a:r>
              <a:rPr kumimoji="0" lang="en-US" sz="1200" b="0" i="0" u="none" strike="noStrike" kern="1200" cap="none" spc="0" normalizeH="0" baseline="0" noProof="0">
                <a:ln>
                  <a:noFill/>
                </a:ln>
                <a:solidFill>
                  <a:srgbClr val="000000"/>
                </a:solidFill>
                <a:effectLst/>
                <a:uLnTx/>
                <a:uFillTx/>
                <a:latin typeface="Arial"/>
                <a:ea typeface="+mn-ea"/>
                <a:cs typeface="+mn-cs"/>
              </a:rPr>
              <a:t>hosted by experts to answer technical questions</a:t>
            </a:r>
          </a:p>
          <a:p>
            <a:pPr marL="285750" marR="0" lvl="0" indent="-285750" algn="l" defTabSz="914400" rtl="0" eaLnBrk="1" fontAlgn="auto" latinLnBrk="0" hangingPunct="1">
              <a:lnSpc>
                <a:spcPct val="100000"/>
              </a:lnSpc>
              <a:spcBef>
                <a:spcPts val="0"/>
              </a:spcBef>
              <a:spcAft>
                <a:spcPts val="900"/>
              </a:spcAft>
              <a:buClr>
                <a:srgbClr val="0039A6"/>
              </a:buClr>
              <a:buSzTx/>
              <a:buFont typeface="Wingdings"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Pull-based </a:t>
            </a:r>
            <a:r>
              <a:rPr kumimoji="0" lang="en-US" sz="1200" b="1" i="0" u="none" strike="noStrike" kern="1200" cap="none" spc="0" normalizeH="0" baseline="0" noProof="0">
                <a:ln>
                  <a:noFill/>
                </a:ln>
                <a:solidFill>
                  <a:srgbClr val="000000"/>
                </a:solidFill>
                <a:effectLst/>
                <a:uLnTx/>
                <a:uFillTx/>
                <a:latin typeface="Arial"/>
                <a:ea typeface="+mn-ea"/>
                <a:cs typeface="+mn-cs"/>
              </a:rPr>
              <a:t>experts support for implementation</a:t>
            </a:r>
          </a:p>
          <a:p>
            <a:pPr marL="285750" marR="0" lvl="0" indent="-285750" algn="l" defTabSz="914400" rtl="0" eaLnBrk="1" fontAlgn="auto" latinLnBrk="0" hangingPunct="1">
              <a:lnSpc>
                <a:spcPct val="100000"/>
              </a:lnSpc>
              <a:spcBef>
                <a:spcPts val="0"/>
              </a:spcBef>
              <a:spcAft>
                <a:spcPts val="900"/>
              </a:spcAft>
              <a:buClr>
                <a:srgbClr val="0039A6"/>
              </a:buClr>
              <a:buSzTx/>
              <a:buFont typeface="Wingdings"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Targeted best-practice training </a:t>
            </a:r>
            <a:r>
              <a:rPr kumimoji="0" lang="en-US" sz="1200" b="0" i="0" u="none" strike="noStrike" kern="1200" cap="none" spc="0" normalizeH="0" baseline="0" noProof="0">
                <a:ln>
                  <a:noFill/>
                </a:ln>
                <a:solidFill>
                  <a:srgbClr val="000000"/>
                </a:solidFill>
                <a:effectLst/>
                <a:uLnTx/>
                <a:uFillTx/>
                <a:latin typeface="Arial"/>
                <a:ea typeface="+mn-ea"/>
                <a:cs typeface="+mn-cs"/>
              </a:rPr>
              <a:t>programs contextualized to Boeing’s tools and ways of working (e.g., DevSecOps, coding practices)</a:t>
            </a:r>
          </a:p>
        </p:txBody>
      </p:sp>
      <p:sp>
        <p:nvSpPr>
          <p:cNvPr id="182" name="TextBox 1069">
            <a:extLst>
              <a:ext uri="{FF2B5EF4-FFF2-40B4-BE49-F238E27FC236}">
                <a16:creationId xmlns:a16="http://schemas.microsoft.com/office/drawing/2014/main" id="{E567D424-71CD-F325-714C-571027E1C799}"/>
              </a:ext>
            </a:extLst>
          </p:cNvPr>
          <p:cNvSpPr txBox="1">
            <a:spLocks/>
          </p:cNvSpPr>
          <p:nvPr/>
        </p:nvSpPr>
        <p:spPr>
          <a:xfrm>
            <a:off x="8693022" y="2779956"/>
            <a:ext cx="3022600" cy="2077492"/>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900"/>
              </a:spcAft>
              <a:buClr>
                <a:srgbClr val="0039A6"/>
              </a:buClr>
              <a:buSzTx/>
              <a:buFont typeface="Wingdings"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Hands-on support to </a:t>
            </a:r>
            <a:r>
              <a:rPr kumimoji="0" lang="en-US" sz="1200" b="1" i="0" u="none" strike="noStrike" kern="1200" cap="none" spc="0" normalizeH="0" baseline="0" noProof="0">
                <a:ln>
                  <a:noFill/>
                </a:ln>
                <a:solidFill>
                  <a:srgbClr val="000000"/>
                </a:solidFill>
                <a:effectLst/>
                <a:uLnTx/>
                <a:uFillTx/>
                <a:latin typeface="Arial"/>
                <a:ea typeface="+mn-ea"/>
                <a:cs typeface="+mn-cs"/>
              </a:rPr>
              <a:t>identify software productivity opportunities</a:t>
            </a:r>
            <a:r>
              <a:rPr kumimoji="0" lang="en-US" sz="1200" b="0" i="0" u="none" strike="noStrike" kern="1200" cap="none" spc="0" normalizeH="0" baseline="0" noProof="0">
                <a:ln>
                  <a:noFill/>
                </a:ln>
                <a:solidFill>
                  <a:srgbClr val="000000"/>
                </a:solidFill>
                <a:effectLst/>
                <a:uLnTx/>
                <a:uFillTx/>
                <a:latin typeface="Arial"/>
                <a:ea typeface="+mn-ea"/>
                <a:cs typeface="+mn-cs"/>
              </a:rPr>
              <a:t>, prioritize and develop a detailed roadmap </a:t>
            </a:r>
          </a:p>
          <a:p>
            <a:pPr marL="285750" marR="0" lvl="0" indent="-285750" algn="l" defTabSz="914400" rtl="0" eaLnBrk="1" fontAlgn="auto" latinLnBrk="0" hangingPunct="1">
              <a:lnSpc>
                <a:spcPct val="100000"/>
              </a:lnSpc>
              <a:spcBef>
                <a:spcPts val="0"/>
              </a:spcBef>
              <a:spcAft>
                <a:spcPts val="900"/>
              </a:spcAft>
              <a:buClr>
                <a:srgbClr val="0039A6"/>
              </a:buClr>
              <a:buSzTx/>
              <a:buFont typeface="Wingdings"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Embedded expert coaching </a:t>
            </a:r>
            <a:r>
              <a:rPr kumimoji="0" lang="en-US" sz="1200" b="0" i="0" u="none" strike="noStrike" kern="1200" cap="none" spc="0" normalizeH="0" baseline="0" noProof="0">
                <a:ln>
                  <a:noFill/>
                </a:ln>
                <a:solidFill>
                  <a:srgbClr val="000000"/>
                </a:solidFill>
                <a:effectLst/>
                <a:uLnTx/>
                <a:uFillTx/>
                <a:latin typeface="Arial"/>
                <a:ea typeface="+mn-ea"/>
                <a:cs typeface="+mn-cs"/>
              </a:rPr>
              <a:t>to oversee implementation of first two sprints (i.e., role shadowing, spot-training, pair programming)</a:t>
            </a:r>
          </a:p>
          <a:p>
            <a:pPr marL="285750" marR="0" lvl="0" indent="-285750" algn="l" defTabSz="914400" rtl="0" eaLnBrk="1" fontAlgn="auto" latinLnBrk="0" hangingPunct="1">
              <a:lnSpc>
                <a:spcPct val="100000"/>
              </a:lnSpc>
              <a:spcBef>
                <a:spcPts val="0"/>
              </a:spcBef>
              <a:spcAft>
                <a:spcPts val="900"/>
              </a:spcAft>
              <a:buClr>
                <a:srgbClr val="0039A6"/>
              </a:buClr>
              <a:buSzTx/>
              <a:buFont typeface="Wingdings"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Detailed implementation plan to scale out</a:t>
            </a:r>
            <a:r>
              <a:rPr kumimoji="0" lang="en-US" sz="1200" b="0" i="0" u="none" strike="noStrike" kern="1200" cap="none" spc="0" normalizeH="0" baseline="0" noProof="0">
                <a:ln>
                  <a:noFill/>
                </a:ln>
                <a:solidFill>
                  <a:srgbClr val="000000"/>
                </a:solidFill>
                <a:effectLst/>
                <a:uLnTx/>
                <a:uFillTx/>
                <a:latin typeface="Arial"/>
                <a:ea typeface="+mn-ea"/>
                <a:cs typeface="+mn-cs"/>
              </a:rPr>
              <a:t> successful initiatives across the product family / division</a:t>
            </a:r>
          </a:p>
        </p:txBody>
      </p:sp>
      <p:sp>
        <p:nvSpPr>
          <p:cNvPr id="184" name="TextBox 183">
            <a:extLst>
              <a:ext uri="{FF2B5EF4-FFF2-40B4-BE49-F238E27FC236}">
                <a16:creationId xmlns:a16="http://schemas.microsoft.com/office/drawing/2014/main" id="{52054891-38C0-CDBA-F504-636FB0BA1F58}"/>
              </a:ext>
            </a:extLst>
          </p:cNvPr>
          <p:cNvSpPr txBox="1">
            <a:spLocks/>
          </p:cNvSpPr>
          <p:nvPr/>
        </p:nvSpPr>
        <p:spPr>
          <a:xfrm>
            <a:off x="554735" y="3925775"/>
            <a:ext cx="1521715"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3F464B"/>
              </a:buClr>
              <a:buSzPct val="100000"/>
              <a:buFont typeface="Segoe UI" panose="020B0502040204020203" pitchFamily="34" charset="0"/>
              <a:buNone/>
              <a:tabLst/>
              <a:defRPr/>
            </a:pPr>
            <a:r>
              <a:rPr kumimoji="0" lang="en-US" sz="1400" b="1"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rPr>
              <a:t>Support offered</a:t>
            </a:r>
            <a:endParaRPr kumimoji="0" lang="en-US" sz="1400" b="0"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grpSp>
        <p:nvGrpSpPr>
          <p:cNvPr id="423" name="Group 422">
            <a:extLst>
              <a:ext uri="{FF2B5EF4-FFF2-40B4-BE49-F238E27FC236}">
                <a16:creationId xmlns:a16="http://schemas.microsoft.com/office/drawing/2014/main" id="{7D29398E-4CA1-9DB5-50CC-59960F880888}"/>
              </a:ext>
            </a:extLst>
          </p:cNvPr>
          <p:cNvGrpSpPr>
            <a:grpSpLocks/>
          </p:cNvGrpSpPr>
          <p:nvPr/>
        </p:nvGrpSpPr>
        <p:grpSpPr>
          <a:xfrm>
            <a:off x="554735" y="5466183"/>
            <a:ext cx="11160887" cy="854080"/>
            <a:chOff x="554735" y="5456024"/>
            <a:chExt cx="11160887" cy="854080"/>
          </a:xfrm>
        </p:grpSpPr>
        <p:sp>
          <p:nvSpPr>
            <p:cNvPr id="185" name="TextBox 184">
              <a:extLst>
                <a:ext uri="{FF2B5EF4-FFF2-40B4-BE49-F238E27FC236}">
                  <a16:creationId xmlns:a16="http://schemas.microsoft.com/office/drawing/2014/main" id="{239F061F-2DC5-51A5-3127-3441C1549ABD}"/>
                </a:ext>
              </a:extLst>
            </p:cNvPr>
            <p:cNvSpPr txBox="1">
              <a:spLocks/>
            </p:cNvSpPr>
            <p:nvPr/>
          </p:nvSpPr>
          <p:spPr>
            <a:xfrm>
              <a:off x="554735" y="5456024"/>
              <a:ext cx="1521715" cy="723275"/>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3F464B"/>
                </a:buClr>
                <a:buSzPct val="100000"/>
                <a:buFont typeface="Segoe UI" panose="020B0502040204020203" pitchFamily="34" charset="0"/>
                <a:buNone/>
                <a:tabLst/>
                <a:defRPr/>
              </a:pPr>
              <a:r>
                <a:rPr kumimoji="0" lang="en-US" sz="1400" b="1" i="0" u="none" strike="noStrike" kern="0" cap="none" spc="0" normalizeH="0" baseline="0" noProof="0" dirty="0">
                  <a:ln>
                    <a:noFill/>
                  </a:ln>
                  <a:solidFill>
                    <a:srgbClr val="000000"/>
                  </a:solidFill>
                  <a:effectLst/>
                  <a:uLnTx/>
                  <a:uFillTx/>
                  <a:latin typeface="Arial" panose="020B0604020202020204"/>
                  <a:ea typeface="+mn-ea"/>
                  <a:cs typeface="Arial" panose="020B0604020202020204" pitchFamily="34" charset="0"/>
                </a:rPr>
                <a:t>Selection criteria</a:t>
              </a:r>
            </a:p>
            <a:p>
              <a:pPr marL="0" marR="0" lvl="0" indent="0" algn="l" defTabSz="914400" rtl="0" eaLnBrk="1" fontAlgn="auto" latinLnBrk="0" hangingPunct="1">
                <a:lnSpc>
                  <a:spcPct val="100000"/>
                </a:lnSpc>
                <a:spcBef>
                  <a:spcPts val="300"/>
                </a:spcBef>
                <a:spcAft>
                  <a:spcPts val="300"/>
                </a:spcAft>
                <a:buClr>
                  <a:srgbClr val="3F464B"/>
                </a:buClr>
                <a:buSzPct val="100000"/>
                <a:buFont typeface="Segoe UI" panose="020B0502040204020203" pitchFamily="34" charset="0"/>
                <a:buNone/>
                <a:tabLst/>
                <a:defRPr/>
              </a:pPr>
              <a:r>
                <a:rPr kumimoji="0" lang="en-US" sz="1400" b="0" i="1" u="none" strike="noStrike" kern="0" cap="none" spc="0" normalizeH="0" baseline="0" noProof="0" dirty="0">
                  <a:ln>
                    <a:noFill/>
                  </a:ln>
                  <a:solidFill>
                    <a:srgbClr val="000000"/>
                  </a:solidFill>
                  <a:effectLst/>
                  <a:uLnTx/>
                  <a:uFillTx/>
                  <a:latin typeface="Arial" panose="020B0604020202020204"/>
                  <a:ea typeface="+mn-ea"/>
                  <a:cs typeface="Arial" panose="020B0604020202020204" pitchFamily="34" charset="0"/>
                </a:rPr>
                <a:t>(detailed criteria in backup)</a:t>
              </a:r>
            </a:p>
          </p:txBody>
        </p:sp>
        <p:sp>
          <p:nvSpPr>
            <p:cNvPr id="186" name="TextBox 185">
              <a:extLst>
                <a:ext uri="{FF2B5EF4-FFF2-40B4-BE49-F238E27FC236}">
                  <a16:creationId xmlns:a16="http://schemas.microsoft.com/office/drawing/2014/main" id="{9EA12204-F3BC-4B33-7993-194E69714CC4}"/>
                </a:ext>
              </a:extLst>
            </p:cNvPr>
            <p:cNvSpPr txBox="1">
              <a:spLocks/>
            </p:cNvSpPr>
            <p:nvPr/>
          </p:nvSpPr>
          <p:spPr>
            <a:xfrm>
              <a:off x="2374900" y="5456024"/>
              <a:ext cx="3022600"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marR="0" lvl="0" indent="-285750" algn="l" defTabSz="914400" rtl="0" eaLnBrk="1" fontAlgn="auto" latinLnBrk="0" hangingPunct="1">
                <a:lnSpc>
                  <a:spcPct val="100000"/>
                </a:lnSpc>
                <a:spcBef>
                  <a:spcPts val="300"/>
                </a:spcBef>
                <a:spcAft>
                  <a:spcPts val="300"/>
                </a:spcAft>
                <a:buClr>
                  <a:srgbClr val="0039A6"/>
                </a:buClr>
                <a:buSzPct val="100000"/>
                <a:buFont typeface="Wingdings"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Table stakes for all teams</a:t>
              </a:r>
            </a:p>
          </p:txBody>
        </p:sp>
        <p:sp>
          <p:nvSpPr>
            <p:cNvPr id="187" name="TextBox 1134">
              <a:extLst>
                <a:ext uri="{FF2B5EF4-FFF2-40B4-BE49-F238E27FC236}">
                  <a16:creationId xmlns:a16="http://schemas.microsoft.com/office/drawing/2014/main" id="{DAD10098-2999-DD7D-ED5A-81B24EBDDDFA}"/>
                </a:ext>
              </a:extLst>
            </p:cNvPr>
            <p:cNvSpPr txBox="1">
              <a:spLocks/>
            </p:cNvSpPr>
            <p:nvPr/>
          </p:nvSpPr>
          <p:spPr>
            <a:xfrm>
              <a:off x="5568144" y="5456024"/>
              <a:ext cx="3022600" cy="407804"/>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300"/>
                </a:spcAft>
                <a:buClr>
                  <a:srgbClr val="0039A6"/>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Team size &gt;10 people</a:t>
              </a:r>
            </a:p>
            <a:p>
              <a:pPr marL="285750" marR="0" lvl="0" indent="-285750" algn="l" defTabSz="914400" rtl="0" eaLnBrk="1" fontAlgn="auto" latinLnBrk="0" hangingPunct="1">
                <a:lnSpc>
                  <a:spcPct val="100000"/>
                </a:lnSpc>
                <a:spcBef>
                  <a:spcPts val="0"/>
                </a:spcBef>
                <a:spcAft>
                  <a:spcPts val="300"/>
                </a:spcAft>
                <a:buClr>
                  <a:srgbClr val="0039A6"/>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gt;20% capacity for SWX improvements</a:t>
              </a:r>
            </a:p>
          </p:txBody>
        </p:sp>
        <p:sp>
          <p:nvSpPr>
            <p:cNvPr id="188" name="TextBox 1069">
              <a:extLst>
                <a:ext uri="{FF2B5EF4-FFF2-40B4-BE49-F238E27FC236}">
                  <a16:creationId xmlns:a16="http://schemas.microsoft.com/office/drawing/2014/main" id="{0D492F31-18DA-C20A-21CB-E8F9A5B3D4AF}"/>
                </a:ext>
              </a:extLst>
            </p:cNvPr>
            <p:cNvSpPr txBox="1">
              <a:spLocks/>
            </p:cNvSpPr>
            <p:nvPr/>
          </p:nvSpPr>
          <p:spPr>
            <a:xfrm>
              <a:off x="8693022" y="5456024"/>
              <a:ext cx="3022600" cy="854080"/>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300"/>
                </a:spcAft>
                <a:buClr>
                  <a:srgbClr val="0039A6"/>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Team size &gt;10 people</a:t>
              </a:r>
            </a:p>
            <a:p>
              <a:pPr marL="285750" marR="0" lvl="0" indent="-285750" algn="l" defTabSz="914400" rtl="0" eaLnBrk="1" fontAlgn="auto" latinLnBrk="0" hangingPunct="1">
                <a:lnSpc>
                  <a:spcPct val="100000"/>
                </a:lnSpc>
                <a:spcBef>
                  <a:spcPts val="0"/>
                </a:spcBef>
                <a:spcAft>
                  <a:spcPts val="300"/>
                </a:spcAft>
                <a:buClr>
                  <a:srgbClr val="0039A6"/>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Active development</a:t>
              </a:r>
            </a:p>
            <a:p>
              <a:pPr marL="285750" marR="0" lvl="0" indent="-285750" algn="l" defTabSz="914400" rtl="0" eaLnBrk="1" fontAlgn="auto" latinLnBrk="0" hangingPunct="1">
                <a:lnSpc>
                  <a:spcPct val="100000"/>
                </a:lnSpc>
                <a:spcBef>
                  <a:spcPts val="0"/>
                </a:spcBef>
                <a:spcAft>
                  <a:spcPts val="300"/>
                </a:spcAft>
                <a:buClr>
                  <a:srgbClr val="0039A6"/>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Ability to integrate pioneers into team</a:t>
              </a:r>
            </a:p>
            <a:p>
              <a:pPr marL="285750" marR="0" lvl="0" indent="-285750" algn="l" defTabSz="914400" rtl="0" eaLnBrk="1" fontAlgn="auto" latinLnBrk="0" hangingPunct="1">
                <a:lnSpc>
                  <a:spcPct val="100000"/>
                </a:lnSpc>
                <a:spcBef>
                  <a:spcPts val="0"/>
                </a:spcBef>
                <a:spcAft>
                  <a:spcPts val="300"/>
                </a:spcAft>
                <a:buClr>
                  <a:srgbClr val="0039A6"/>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gt;20% capacity for SWX improvements</a:t>
              </a:r>
            </a:p>
          </p:txBody>
        </p:sp>
      </p:grpSp>
      <p:cxnSp>
        <p:nvCxnSpPr>
          <p:cNvPr id="189" name="Straight Connector 188">
            <a:extLst>
              <a:ext uri="{FF2B5EF4-FFF2-40B4-BE49-F238E27FC236}">
                <a16:creationId xmlns:a16="http://schemas.microsoft.com/office/drawing/2014/main" id="{3CE6769F-A2F6-609A-C3A6-842F0961866D}"/>
              </a:ext>
            </a:extLst>
          </p:cNvPr>
          <p:cNvCxnSpPr>
            <a:cxnSpLocks/>
          </p:cNvCxnSpPr>
          <p:nvPr>
            <p:custDataLst>
              <p:tags r:id="rId3"/>
            </p:custDataLst>
          </p:nvPr>
        </p:nvCxnSpPr>
        <p:spPr>
          <a:xfrm>
            <a:off x="557214" y="5312802"/>
            <a:ext cx="11160887" cy="0"/>
          </a:xfrm>
          <a:prstGeom prst="line">
            <a:avLst/>
          </a:prstGeom>
          <a:ln w="6350">
            <a:solidFill>
              <a:srgbClr val="7F7F7F"/>
            </a:solidFill>
            <a:prstDash val="solid"/>
          </a:ln>
        </p:spPr>
        <p:style>
          <a:lnRef idx="1">
            <a:schemeClr val="accent1"/>
          </a:lnRef>
          <a:fillRef idx="0">
            <a:schemeClr val="accent1"/>
          </a:fillRef>
          <a:effectRef idx="0">
            <a:schemeClr val="accent1"/>
          </a:effectRef>
          <a:fontRef idx="minor">
            <a:schemeClr val="tx1"/>
          </a:fontRef>
        </p:style>
      </p:cxnSp>
      <p:grpSp>
        <p:nvGrpSpPr>
          <p:cNvPr id="191" name="Group 190">
            <a:extLst>
              <a:ext uri="{FF2B5EF4-FFF2-40B4-BE49-F238E27FC236}">
                <a16:creationId xmlns:a16="http://schemas.microsoft.com/office/drawing/2014/main" id="{346BAFD3-91B6-6B45-51C6-E3D8BB9A5D87}"/>
              </a:ext>
            </a:extLst>
          </p:cNvPr>
          <p:cNvGrpSpPr>
            <a:grpSpLocks/>
          </p:cNvGrpSpPr>
          <p:nvPr/>
        </p:nvGrpSpPr>
        <p:grpSpPr>
          <a:xfrm>
            <a:off x="2374900" y="2989240"/>
            <a:ext cx="1365250" cy="685981"/>
            <a:chOff x="554734" y="2118166"/>
            <a:chExt cx="2165821" cy="1159326"/>
          </a:xfrm>
        </p:grpSpPr>
        <p:sp>
          <p:nvSpPr>
            <p:cNvPr id="192" name="Freeform: Shape 26">
              <a:extLst>
                <a:ext uri="{FF2B5EF4-FFF2-40B4-BE49-F238E27FC236}">
                  <a16:creationId xmlns:a16="http://schemas.microsoft.com/office/drawing/2014/main" id="{7275F3CC-83A2-05CD-9483-D4887FA7B802}"/>
                </a:ext>
              </a:extLst>
            </p:cNvPr>
            <p:cNvSpPr/>
            <p:nvPr/>
          </p:nvSpPr>
          <p:spPr>
            <a:xfrm>
              <a:off x="1121997" y="2608020"/>
              <a:ext cx="669472" cy="669472"/>
            </a:xfrm>
            <a:custGeom>
              <a:avLst/>
              <a:gdLst>
                <a:gd name="connsiteX0" fmla="*/ 113348 w 1122997"/>
                <a:gd name="connsiteY0" fmla="*/ 0 h 1122997"/>
                <a:gd name="connsiteX1" fmla="*/ 1009650 w 1122997"/>
                <a:gd name="connsiteY1" fmla="*/ 0 h 1122997"/>
                <a:gd name="connsiteX2" fmla="*/ 1122998 w 1122997"/>
                <a:gd name="connsiteY2" fmla="*/ 113347 h 1122997"/>
                <a:gd name="connsiteX3" fmla="*/ 1122998 w 1122997"/>
                <a:gd name="connsiteY3" fmla="*/ 1009650 h 1122997"/>
                <a:gd name="connsiteX4" fmla="*/ 1009650 w 1122997"/>
                <a:gd name="connsiteY4" fmla="*/ 1122998 h 1122997"/>
                <a:gd name="connsiteX5" fmla="*/ 113348 w 1122997"/>
                <a:gd name="connsiteY5" fmla="*/ 1122998 h 1122997"/>
                <a:gd name="connsiteX6" fmla="*/ 0 w 1122997"/>
                <a:gd name="connsiteY6" fmla="*/ 1009650 h 1122997"/>
                <a:gd name="connsiteX7" fmla="*/ 0 w 1122997"/>
                <a:gd name="connsiteY7" fmla="*/ 113347 h 1122997"/>
                <a:gd name="connsiteX8" fmla="*/ 113348 w 1122997"/>
                <a:gd name="connsiteY8" fmla="*/ 0 h 1122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2997" h="1122997">
                  <a:moveTo>
                    <a:pt x="113348" y="0"/>
                  </a:moveTo>
                  <a:lnTo>
                    <a:pt x="1009650" y="0"/>
                  </a:lnTo>
                  <a:cubicBezTo>
                    <a:pt x="1072515" y="0"/>
                    <a:pt x="1122998" y="50482"/>
                    <a:pt x="1122998" y="113347"/>
                  </a:cubicBezTo>
                  <a:lnTo>
                    <a:pt x="1122998" y="1009650"/>
                  </a:lnTo>
                  <a:cubicBezTo>
                    <a:pt x="1122998" y="1072515"/>
                    <a:pt x="1072515" y="1122998"/>
                    <a:pt x="1009650" y="1122998"/>
                  </a:cubicBezTo>
                  <a:lnTo>
                    <a:pt x="113348" y="1122998"/>
                  </a:lnTo>
                  <a:cubicBezTo>
                    <a:pt x="50483" y="1122998"/>
                    <a:pt x="0" y="1072515"/>
                    <a:pt x="0" y="1009650"/>
                  </a:cubicBezTo>
                  <a:lnTo>
                    <a:pt x="0" y="113347"/>
                  </a:lnTo>
                  <a:cubicBezTo>
                    <a:pt x="0" y="50482"/>
                    <a:pt x="50483" y="0"/>
                    <a:pt x="113348" y="0"/>
                  </a:cubicBezTo>
                  <a:close/>
                </a:path>
              </a:pathLst>
            </a:custGeom>
            <a:solidFill>
              <a:schemeClr val="accent6">
                <a:lumMod val="40000"/>
                <a:lumOff val="6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3" name="Freeform: Shape 27">
              <a:extLst>
                <a:ext uri="{FF2B5EF4-FFF2-40B4-BE49-F238E27FC236}">
                  <a16:creationId xmlns:a16="http://schemas.microsoft.com/office/drawing/2014/main" id="{29E72600-D785-3965-D670-C5917D9C64A9}"/>
                </a:ext>
              </a:extLst>
            </p:cNvPr>
            <p:cNvSpPr/>
            <p:nvPr/>
          </p:nvSpPr>
          <p:spPr>
            <a:xfrm>
              <a:off x="1342846" y="2536469"/>
              <a:ext cx="333129" cy="376780"/>
            </a:xfrm>
            <a:custGeom>
              <a:avLst/>
              <a:gdLst>
                <a:gd name="connsiteX0" fmla="*/ 427735 w 558803"/>
                <a:gd name="connsiteY0" fmla="*/ 101923 h 632025"/>
                <a:gd name="connsiteX1" fmla="*/ 426783 w 558803"/>
                <a:gd name="connsiteY1" fmla="*/ 98113 h 632025"/>
                <a:gd name="connsiteX2" fmla="*/ 407733 w 558803"/>
                <a:gd name="connsiteY2" fmla="*/ 47631 h 632025"/>
                <a:gd name="connsiteX3" fmla="*/ 360108 w 558803"/>
                <a:gd name="connsiteY3" fmla="*/ 14293 h 632025"/>
                <a:gd name="connsiteX4" fmla="*/ 315340 w 558803"/>
                <a:gd name="connsiteY4" fmla="*/ 16198 h 632025"/>
                <a:gd name="connsiteX5" fmla="*/ 282955 w 558803"/>
                <a:gd name="connsiteY5" fmla="*/ 5721 h 632025"/>
                <a:gd name="connsiteX6" fmla="*/ 161035 w 558803"/>
                <a:gd name="connsiteY6" fmla="*/ 42868 h 632025"/>
                <a:gd name="connsiteX7" fmla="*/ 89598 w 558803"/>
                <a:gd name="connsiteY7" fmla="*/ 157168 h 632025"/>
                <a:gd name="connsiteX8" fmla="*/ 79120 w 558803"/>
                <a:gd name="connsiteY8" fmla="*/ 256228 h 632025"/>
                <a:gd name="connsiteX9" fmla="*/ 22923 w 558803"/>
                <a:gd name="connsiteY9" fmla="*/ 405771 h 632025"/>
                <a:gd name="connsiteX10" fmla="*/ 17208 w 558803"/>
                <a:gd name="connsiteY10" fmla="*/ 582936 h 632025"/>
                <a:gd name="connsiteX11" fmla="*/ 24828 w 558803"/>
                <a:gd name="connsiteY11" fmla="*/ 610558 h 632025"/>
                <a:gd name="connsiteX12" fmla="*/ 63880 w 558803"/>
                <a:gd name="connsiteY12" fmla="*/ 631513 h 632025"/>
                <a:gd name="connsiteX13" fmla="*/ 503935 w 558803"/>
                <a:gd name="connsiteY13" fmla="*/ 626751 h 632025"/>
                <a:gd name="connsiteX14" fmla="*/ 534415 w 558803"/>
                <a:gd name="connsiteY14" fmla="*/ 617226 h 632025"/>
                <a:gd name="connsiteX15" fmla="*/ 552513 w 558803"/>
                <a:gd name="connsiteY15" fmla="*/ 588651 h 632025"/>
                <a:gd name="connsiteX16" fmla="*/ 522033 w 558803"/>
                <a:gd name="connsiteY16" fmla="*/ 398151 h 632025"/>
                <a:gd name="connsiteX17" fmla="*/ 483933 w 558803"/>
                <a:gd name="connsiteY17" fmla="*/ 322903 h 632025"/>
                <a:gd name="connsiteX18" fmla="*/ 485838 w 558803"/>
                <a:gd name="connsiteY18" fmla="*/ 270516 h 632025"/>
                <a:gd name="connsiteX19" fmla="*/ 452500 w 558803"/>
                <a:gd name="connsiteY19" fmla="*/ 147643 h 632025"/>
                <a:gd name="connsiteX20" fmla="*/ 427735 w 558803"/>
                <a:gd name="connsiteY20" fmla="*/ 101923 h 63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58803" h="632025">
                  <a:moveTo>
                    <a:pt x="427735" y="101923"/>
                  </a:moveTo>
                  <a:cubicBezTo>
                    <a:pt x="427735" y="100971"/>
                    <a:pt x="426783" y="99066"/>
                    <a:pt x="426783" y="98113"/>
                  </a:cubicBezTo>
                  <a:cubicBezTo>
                    <a:pt x="422020" y="80016"/>
                    <a:pt x="418210" y="63823"/>
                    <a:pt x="407733" y="47631"/>
                  </a:cubicBezTo>
                  <a:cubicBezTo>
                    <a:pt x="397255" y="30486"/>
                    <a:pt x="380110" y="16198"/>
                    <a:pt x="360108" y="14293"/>
                  </a:cubicBezTo>
                  <a:cubicBezTo>
                    <a:pt x="344868" y="12388"/>
                    <a:pt x="329628" y="18103"/>
                    <a:pt x="315340" y="16198"/>
                  </a:cubicBezTo>
                  <a:cubicBezTo>
                    <a:pt x="303910" y="14293"/>
                    <a:pt x="294385" y="9531"/>
                    <a:pt x="282955" y="5721"/>
                  </a:cubicBezTo>
                  <a:cubicBezTo>
                    <a:pt x="237235" y="-10472"/>
                    <a:pt x="193420" y="9531"/>
                    <a:pt x="161035" y="42868"/>
                  </a:cubicBezTo>
                  <a:cubicBezTo>
                    <a:pt x="128650" y="76206"/>
                    <a:pt x="97218" y="109543"/>
                    <a:pt x="89598" y="157168"/>
                  </a:cubicBezTo>
                  <a:cubicBezTo>
                    <a:pt x="83883" y="189553"/>
                    <a:pt x="85788" y="223843"/>
                    <a:pt x="79120" y="256228"/>
                  </a:cubicBezTo>
                  <a:cubicBezTo>
                    <a:pt x="68643" y="308616"/>
                    <a:pt x="42925" y="363861"/>
                    <a:pt x="22923" y="405771"/>
                  </a:cubicBezTo>
                  <a:cubicBezTo>
                    <a:pt x="4825" y="441966"/>
                    <a:pt x="-15177" y="541026"/>
                    <a:pt x="17208" y="582936"/>
                  </a:cubicBezTo>
                  <a:cubicBezTo>
                    <a:pt x="22923" y="590556"/>
                    <a:pt x="20065" y="602938"/>
                    <a:pt x="24828" y="610558"/>
                  </a:cubicBezTo>
                  <a:cubicBezTo>
                    <a:pt x="32448" y="623893"/>
                    <a:pt x="48640" y="630561"/>
                    <a:pt x="63880" y="631513"/>
                  </a:cubicBezTo>
                  <a:cubicBezTo>
                    <a:pt x="88645" y="633418"/>
                    <a:pt x="468693" y="629608"/>
                    <a:pt x="503935" y="626751"/>
                  </a:cubicBezTo>
                  <a:cubicBezTo>
                    <a:pt x="514413" y="625798"/>
                    <a:pt x="526795" y="624846"/>
                    <a:pt x="534415" y="617226"/>
                  </a:cubicBezTo>
                  <a:cubicBezTo>
                    <a:pt x="542988" y="609606"/>
                    <a:pt x="551560" y="600081"/>
                    <a:pt x="552513" y="588651"/>
                  </a:cubicBezTo>
                  <a:cubicBezTo>
                    <a:pt x="554418" y="553408"/>
                    <a:pt x="577278" y="497211"/>
                    <a:pt x="522033" y="398151"/>
                  </a:cubicBezTo>
                  <a:cubicBezTo>
                    <a:pt x="507745" y="373386"/>
                    <a:pt x="488695" y="350526"/>
                    <a:pt x="483933" y="322903"/>
                  </a:cubicBezTo>
                  <a:cubicBezTo>
                    <a:pt x="481075" y="305758"/>
                    <a:pt x="484885" y="288613"/>
                    <a:pt x="485838" y="270516"/>
                  </a:cubicBezTo>
                  <a:cubicBezTo>
                    <a:pt x="487743" y="226701"/>
                    <a:pt x="471550" y="185743"/>
                    <a:pt x="452500" y="147643"/>
                  </a:cubicBezTo>
                  <a:cubicBezTo>
                    <a:pt x="443928" y="133356"/>
                    <a:pt x="433450" y="119068"/>
                    <a:pt x="427735" y="101923"/>
                  </a:cubicBezTo>
                  <a:close/>
                </a:path>
              </a:pathLst>
            </a:custGeom>
            <a:solidFill>
              <a:srgbClr val="B3733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4" name="Freeform: Shape 28">
              <a:extLst>
                <a:ext uri="{FF2B5EF4-FFF2-40B4-BE49-F238E27FC236}">
                  <a16:creationId xmlns:a16="http://schemas.microsoft.com/office/drawing/2014/main" id="{ACC19E9A-5863-8492-93EE-BB2E1BD4760E}"/>
                </a:ext>
              </a:extLst>
            </p:cNvPr>
            <p:cNvSpPr/>
            <p:nvPr/>
          </p:nvSpPr>
          <p:spPr>
            <a:xfrm>
              <a:off x="643868" y="2597365"/>
              <a:ext cx="222605" cy="175095"/>
            </a:xfrm>
            <a:custGeom>
              <a:avLst/>
              <a:gdLst>
                <a:gd name="connsiteX0" fmla="*/ 373406 w 373405"/>
                <a:gd name="connsiteY0" fmla="*/ 198847 h 293710"/>
                <a:gd name="connsiteX1" fmla="*/ 304826 w 373405"/>
                <a:gd name="connsiteY1" fmla="*/ 110265 h 293710"/>
                <a:gd name="connsiteX2" fmla="*/ 264821 w 373405"/>
                <a:gd name="connsiteY2" fmla="*/ 35970 h 293710"/>
                <a:gd name="connsiteX3" fmla="*/ 205766 w 373405"/>
                <a:gd name="connsiteY3" fmla="*/ 45495 h 293710"/>
                <a:gd name="connsiteX4" fmla="*/ 96228 w 373405"/>
                <a:gd name="connsiteY4" fmla="*/ 16920 h 293710"/>
                <a:gd name="connsiteX5" fmla="*/ 12408 w 373405"/>
                <a:gd name="connsiteY5" fmla="*/ 13110 h 293710"/>
                <a:gd name="connsiteX6" fmla="*/ 24791 w 373405"/>
                <a:gd name="connsiteY6" fmla="*/ 97882 h 293710"/>
                <a:gd name="connsiteX7" fmla="*/ 139091 w 373405"/>
                <a:gd name="connsiteY7" fmla="*/ 163605 h 293710"/>
                <a:gd name="connsiteX8" fmla="*/ 262916 w 373405"/>
                <a:gd name="connsiteY8" fmla="*/ 293145 h 293710"/>
                <a:gd name="connsiteX9" fmla="*/ 373406 w 373405"/>
                <a:gd name="connsiteY9" fmla="*/ 198847 h 293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3405" h="293710">
                  <a:moveTo>
                    <a:pt x="373406" y="198847"/>
                  </a:moveTo>
                  <a:cubicBezTo>
                    <a:pt x="345783" y="173130"/>
                    <a:pt x="321971" y="145507"/>
                    <a:pt x="304826" y="110265"/>
                  </a:cubicBezTo>
                  <a:cubicBezTo>
                    <a:pt x="297206" y="95977"/>
                    <a:pt x="279108" y="31207"/>
                    <a:pt x="264821" y="35970"/>
                  </a:cubicBezTo>
                  <a:cubicBezTo>
                    <a:pt x="244818" y="42637"/>
                    <a:pt x="226721" y="46447"/>
                    <a:pt x="205766" y="45495"/>
                  </a:cubicBezTo>
                  <a:cubicBezTo>
                    <a:pt x="167666" y="44542"/>
                    <a:pt x="131471" y="31207"/>
                    <a:pt x="96228" y="16920"/>
                  </a:cubicBezTo>
                  <a:cubicBezTo>
                    <a:pt x="69558" y="5490"/>
                    <a:pt x="38126" y="-12608"/>
                    <a:pt x="12408" y="13110"/>
                  </a:cubicBezTo>
                  <a:cubicBezTo>
                    <a:pt x="-10452" y="35970"/>
                    <a:pt x="978" y="76927"/>
                    <a:pt x="24791" y="97882"/>
                  </a:cubicBezTo>
                  <a:cubicBezTo>
                    <a:pt x="58128" y="128362"/>
                    <a:pt x="105753" y="131220"/>
                    <a:pt x="139091" y="163605"/>
                  </a:cubicBezTo>
                  <a:cubicBezTo>
                    <a:pt x="181953" y="205515"/>
                    <a:pt x="222911" y="249330"/>
                    <a:pt x="262916" y="293145"/>
                  </a:cubicBezTo>
                  <a:cubicBezTo>
                    <a:pt x="267678" y="300765"/>
                    <a:pt x="345783" y="229327"/>
                    <a:pt x="373406" y="198847"/>
                  </a:cubicBezTo>
                  <a:close/>
                </a:path>
              </a:pathLst>
            </a:custGeom>
            <a:solidFill>
              <a:srgbClr val="F9D8C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5" name="Freeform: Shape 29">
              <a:extLst>
                <a:ext uri="{FF2B5EF4-FFF2-40B4-BE49-F238E27FC236}">
                  <a16:creationId xmlns:a16="http://schemas.microsoft.com/office/drawing/2014/main" id="{E2270732-592A-4760-2ECE-F985756D0CEE}"/>
                </a:ext>
              </a:extLst>
            </p:cNvPr>
            <p:cNvSpPr/>
            <p:nvPr/>
          </p:nvSpPr>
          <p:spPr>
            <a:xfrm>
              <a:off x="554734" y="2320697"/>
              <a:ext cx="330478" cy="330478"/>
            </a:xfrm>
            <a:custGeom>
              <a:avLst/>
              <a:gdLst>
                <a:gd name="connsiteX0" fmla="*/ 554355 w 554355"/>
                <a:gd name="connsiteY0" fmla="*/ 277178 h 554355"/>
                <a:gd name="connsiteX1" fmla="*/ 277178 w 554355"/>
                <a:gd name="connsiteY1" fmla="*/ 554355 h 554355"/>
                <a:gd name="connsiteX2" fmla="*/ 0 w 554355"/>
                <a:gd name="connsiteY2" fmla="*/ 277178 h 554355"/>
                <a:gd name="connsiteX3" fmla="*/ 277178 w 554355"/>
                <a:gd name="connsiteY3" fmla="*/ 0 h 554355"/>
                <a:gd name="connsiteX4" fmla="*/ 554355 w 554355"/>
                <a:gd name="connsiteY4" fmla="*/ 277178 h 554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355" h="554355">
                  <a:moveTo>
                    <a:pt x="554355" y="277178"/>
                  </a:moveTo>
                  <a:cubicBezTo>
                    <a:pt x="554355" y="430258"/>
                    <a:pt x="430258" y="554355"/>
                    <a:pt x="277178" y="554355"/>
                  </a:cubicBezTo>
                  <a:cubicBezTo>
                    <a:pt x="124097" y="554355"/>
                    <a:pt x="0" y="430258"/>
                    <a:pt x="0" y="277178"/>
                  </a:cubicBezTo>
                  <a:cubicBezTo>
                    <a:pt x="0" y="124097"/>
                    <a:pt x="124097" y="0"/>
                    <a:pt x="277178" y="0"/>
                  </a:cubicBezTo>
                  <a:cubicBezTo>
                    <a:pt x="430258" y="0"/>
                    <a:pt x="554355" y="124097"/>
                    <a:pt x="554355" y="277178"/>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6" name="Freeform: Shape 30">
              <a:extLst>
                <a:ext uri="{FF2B5EF4-FFF2-40B4-BE49-F238E27FC236}">
                  <a16:creationId xmlns:a16="http://schemas.microsoft.com/office/drawing/2014/main" id="{05CC1B9C-9363-181E-C82B-B0A193D4801F}"/>
                </a:ext>
              </a:extLst>
            </p:cNvPr>
            <p:cNvSpPr/>
            <p:nvPr/>
          </p:nvSpPr>
          <p:spPr>
            <a:xfrm>
              <a:off x="625980" y="2401329"/>
              <a:ext cx="197906" cy="177163"/>
            </a:xfrm>
            <a:custGeom>
              <a:avLst/>
              <a:gdLst>
                <a:gd name="connsiteX0" fmla="*/ 14792 w 331974"/>
                <a:gd name="connsiteY0" fmla="*/ 193357 h 297179"/>
                <a:gd name="connsiteX1" fmla="*/ 103375 w 331974"/>
                <a:gd name="connsiteY1" fmla="*/ 283845 h 297179"/>
                <a:gd name="connsiteX2" fmla="*/ 135760 w 331974"/>
                <a:gd name="connsiteY2" fmla="*/ 297180 h 297179"/>
                <a:gd name="connsiteX3" fmla="*/ 135760 w 331974"/>
                <a:gd name="connsiteY3" fmla="*/ 297180 h 297179"/>
                <a:gd name="connsiteX4" fmla="*/ 174812 w 331974"/>
                <a:gd name="connsiteY4" fmla="*/ 274320 h 297179"/>
                <a:gd name="connsiteX5" fmla="*/ 331975 w 331974"/>
                <a:gd name="connsiteY5" fmla="*/ 0 h 297179"/>
                <a:gd name="connsiteX6" fmla="*/ 278635 w 331974"/>
                <a:gd name="connsiteY6" fmla="*/ 5715 h 297179"/>
                <a:gd name="connsiteX7" fmla="*/ 138617 w 331974"/>
                <a:gd name="connsiteY7" fmla="*/ 187642 h 297179"/>
                <a:gd name="connsiteX8" fmla="*/ 91945 w 331974"/>
                <a:gd name="connsiteY8" fmla="*/ 127635 h 297179"/>
                <a:gd name="connsiteX9" fmla="*/ 20507 w 331974"/>
                <a:gd name="connsiteY9" fmla="*/ 116205 h 297179"/>
                <a:gd name="connsiteX10" fmla="*/ 20507 w 331974"/>
                <a:gd name="connsiteY10" fmla="*/ 116205 h 297179"/>
                <a:gd name="connsiteX11" fmla="*/ 14792 w 331974"/>
                <a:gd name="connsiteY11" fmla="*/ 193357 h 297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1974" h="297179">
                  <a:moveTo>
                    <a:pt x="14792" y="193357"/>
                  </a:moveTo>
                  <a:lnTo>
                    <a:pt x="103375" y="283845"/>
                  </a:lnTo>
                  <a:cubicBezTo>
                    <a:pt x="111947" y="292417"/>
                    <a:pt x="123377" y="297180"/>
                    <a:pt x="135760" y="297180"/>
                  </a:cubicBezTo>
                  <a:lnTo>
                    <a:pt x="135760" y="297180"/>
                  </a:lnTo>
                  <a:cubicBezTo>
                    <a:pt x="151952" y="297180"/>
                    <a:pt x="167192" y="288607"/>
                    <a:pt x="174812" y="274320"/>
                  </a:cubicBezTo>
                  <a:lnTo>
                    <a:pt x="331975" y="0"/>
                  </a:lnTo>
                  <a:lnTo>
                    <a:pt x="278635" y="5715"/>
                  </a:lnTo>
                  <a:lnTo>
                    <a:pt x="138617" y="187642"/>
                  </a:lnTo>
                  <a:lnTo>
                    <a:pt x="91945" y="127635"/>
                  </a:lnTo>
                  <a:cubicBezTo>
                    <a:pt x="75752" y="104775"/>
                    <a:pt x="43367" y="99060"/>
                    <a:pt x="20507" y="116205"/>
                  </a:cubicBezTo>
                  <a:lnTo>
                    <a:pt x="20507" y="116205"/>
                  </a:lnTo>
                  <a:cubicBezTo>
                    <a:pt x="-4258" y="134302"/>
                    <a:pt x="-7115" y="170498"/>
                    <a:pt x="14792" y="193357"/>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7" name="Freeform: Shape 31">
              <a:extLst>
                <a:ext uri="{FF2B5EF4-FFF2-40B4-BE49-F238E27FC236}">
                  <a16:creationId xmlns:a16="http://schemas.microsoft.com/office/drawing/2014/main" id="{8DC6F2AE-5B31-EDBA-0C86-98CF865CFEFF}"/>
                </a:ext>
              </a:extLst>
            </p:cNvPr>
            <p:cNvSpPr/>
            <p:nvPr/>
          </p:nvSpPr>
          <p:spPr>
            <a:xfrm>
              <a:off x="756881" y="2561971"/>
              <a:ext cx="91580" cy="168979"/>
            </a:xfrm>
            <a:custGeom>
              <a:avLst/>
              <a:gdLst>
                <a:gd name="connsiteX0" fmla="*/ 100013 w 153620"/>
                <a:gd name="connsiteY0" fmla="*/ 28666 h 283451"/>
                <a:gd name="connsiteX1" fmla="*/ 76200 w 153620"/>
                <a:gd name="connsiteY1" fmla="*/ 84863 h 283451"/>
                <a:gd name="connsiteX2" fmla="*/ 0 w 153620"/>
                <a:gd name="connsiteY2" fmla="*/ 155348 h 283451"/>
                <a:gd name="connsiteX3" fmla="*/ 50482 w 153620"/>
                <a:gd name="connsiteY3" fmla="*/ 242978 h 283451"/>
                <a:gd name="connsiteX4" fmla="*/ 147638 w 153620"/>
                <a:gd name="connsiteY4" fmla="*/ 246788 h 283451"/>
                <a:gd name="connsiteX5" fmla="*/ 136208 w 153620"/>
                <a:gd name="connsiteY5" fmla="*/ 123916 h 283451"/>
                <a:gd name="connsiteX6" fmla="*/ 148590 w 153620"/>
                <a:gd name="connsiteY6" fmla="*/ 14378 h 283451"/>
                <a:gd name="connsiteX7" fmla="*/ 127635 w 153620"/>
                <a:gd name="connsiteY7" fmla="*/ 91 h 283451"/>
                <a:gd name="connsiteX8" fmla="*/ 100013 w 153620"/>
                <a:gd name="connsiteY8" fmla="*/ 28666 h 283451"/>
                <a:gd name="connsiteX9" fmla="*/ 100013 w 153620"/>
                <a:gd name="connsiteY9" fmla="*/ 28666 h 283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620" h="283451">
                  <a:moveTo>
                    <a:pt x="100013" y="28666"/>
                  </a:moveTo>
                  <a:cubicBezTo>
                    <a:pt x="89535" y="48668"/>
                    <a:pt x="81915" y="73433"/>
                    <a:pt x="76200" y="84863"/>
                  </a:cubicBezTo>
                  <a:cubicBezTo>
                    <a:pt x="59055" y="116296"/>
                    <a:pt x="36195" y="144871"/>
                    <a:pt x="0" y="155348"/>
                  </a:cubicBezTo>
                  <a:cubicBezTo>
                    <a:pt x="3810" y="154396"/>
                    <a:pt x="44768" y="232501"/>
                    <a:pt x="50482" y="242978"/>
                  </a:cubicBezTo>
                  <a:cubicBezTo>
                    <a:pt x="69532" y="276316"/>
                    <a:pt x="174308" y="312511"/>
                    <a:pt x="147638" y="246788"/>
                  </a:cubicBezTo>
                  <a:cubicBezTo>
                    <a:pt x="131445" y="207736"/>
                    <a:pt x="127635" y="164873"/>
                    <a:pt x="136208" y="123916"/>
                  </a:cubicBezTo>
                  <a:cubicBezTo>
                    <a:pt x="142875" y="90578"/>
                    <a:pt x="162878" y="47716"/>
                    <a:pt x="148590" y="14378"/>
                  </a:cubicBezTo>
                  <a:cubicBezTo>
                    <a:pt x="144780" y="5806"/>
                    <a:pt x="136208" y="-862"/>
                    <a:pt x="127635" y="91"/>
                  </a:cubicBezTo>
                  <a:cubicBezTo>
                    <a:pt x="117157" y="1043"/>
                    <a:pt x="107632" y="13426"/>
                    <a:pt x="100013" y="28666"/>
                  </a:cubicBezTo>
                  <a:lnTo>
                    <a:pt x="100013" y="28666"/>
                  </a:lnTo>
                  <a:close/>
                </a:path>
              </a:pathLst>
            </a:custGeom>
            <a:solidFill>
              <a:srgbClr val="F9D8C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8" name="Freeform: Shape 32">
              <a:extLst>
                <a:ext uri="{FF2B5EF4-FFF2-40B4-BE49-F238E27FC236}">
                  <a16:creationId xmlns:a16="http://schemas.microsoft.com/office/drawing/2014/main" id="{28719C15-9D9F-3400-5937-17787989E8F7}"/>
                </a:ext>
              </a:extLst>
            </p:cNvPr>
            <p:cNvSpPr/>
            <p:nvPr/>
          </p:nvSpPr>
          <p:spPr>
            <a:xfrm>
              <a:off x="741173" y="2680269"/>
              <a:ext cx="1051432" cy="596655"/>
            </a:xfrm>
            <a:custGeom>
              <a:avLst/>
              <a:gdLst>
                <a:gd name="connsiteX0" fmla="*/ 1709418 w 1763710"/>
                <a:gd name="connsiteY0" fmla="*/ 419826 h 1000851"/>
                <a:gd name="connsiteX1" fmla="*/ 1578925 w 1763710"/>
                <a:gd name="connsiteY1" fmla="*/ 321719 h 1000851"/>
                <a:gd name="connsiteX2" fmla="*/ 1427478 w 1763710"/>
                <a:gd name="connsiteY2" fmla="*/ 272189 h 1000851"/>
                <a:gd name="connsiteX3" fmla="*/ 1396998 w 1763710"/>
                <a:gd name="connsiteY3" fmla="*/ 265521 h 1000851"/>
                <a:gd name="connsiteX4" fmla="*/ 1367470 w 1763710"/>
                <a:gd name="connsiteY4" fmla="*/ 258853 h 1000851"/>
                <a:gd name="connsiteX5" fmla="*/ 1042668 w 1763710"/>
                <a:gd name="connsiteY5" fmla="*/ 296953 h 1000851"/>
                <a:gd name="connsiteX6" fmla="*/ 896935 w 1763710"/>
                <a:gd name="connsiteY6" fmla="*/ 334101 h 1000851"/>
                <a:gd name="connsiteX7" fmla="*/ 414018 w 1763710"/>
                <a:gd name="connsiteY7" fmla="*/ 220753 h 1000851"/>
                <a:gd name="connsiteX8" fmla="*/ 283525 w 1763710"/>
                <a:gd name="connsiteY8" fmla="*/ 99786 h 1000851"/>
                <a:gd name="connsiteX9" fmla="*/ 219708 w 1763710"/>
                <a:gd name="connsiteY9" fmla="*/ 29301 h 1000851"/>
                <a:gd name="connsiteX10" fmla="*/ 156843 w 1763710"/>
                <a:gd name="connsiteY10" fmla="*/ 726 h 1000851"/>
                <a:gd name="connsiteX11" fmla="*/ 6348 w 1763710"/>
                <a:gd name="connsiteY11" fmla="*/ 128361 h 1000851"/>
                <a:gd name="connsiteX12" fmla="*/ 345438 w 1763710"/>
                <a:gd name="connsiteY12" fmla="*/ 476976 h 1000851"/>
                <a:gd name="connsiteX13" fmla="*/ 647380 w 1763710"/>
                <a:gd name="connsiteY13" fmla="*/ 651283 h 1000851"/>
                <a:gd name="connsiteX14" fmla="*/ 764538 w 1763710"/>
                <a:gd name="connsiteY14" fmla="*/ 690336 h 1000851"/>
                <a:gd name="connsiteX15" fmla="*/ 883600 w 1763710"/>
                <a:gd name="connsiteY15" fmla="*/ 744628 h 1000851"/>
                <a:gd name="connsiteX16" fmla="*/ 1026475 w 1763710"/>
                <a:gd name="connsiteY16" fmla="*/ 926556 h 1000851"/>
                <a:gd name="connsiteX17" fmla="*/ 1039810 w 1763710"/>
                <a:gd name="connsiteY17" fmla="*/ 1000851 h 1000851"/>
                <a:gd name="connsiteX18" fmla="*/ 1650363 w 1763710"/>
                <a:gd name="connsiteY18" fmla="*/ 1000851 h 1000851"/>
                <a:gd name="connsiteX19" fmla="*/ 1763710 w 1763710"/>
                <a:gd name="connsiteY19" fmla="*/ 887503 h 1000851"/>
                <a:gd name="connsiteX20" fmla="*/ 1763710 w 1763710"/>
                <a:gd name="connsiteY20" fmla="*/ 498883 h 1000851"/>
                <a:gd name="connsiteX21" fmla="*/ 1709418 w 1763710"/>
                <a:gd name="connsiteY21" fmla="*/ 419826 h 1000851"/>
                <a:gd name="connsiteX22" fmla="*/ 1709418 w 1763710"/>
                <a:gd name="connsiteY22" fmla="*/ 419826 h 1000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63710" h="1000851">
                  <a:moveTo>
                    <a:pt x="1709418" y="419826"/>
                  </a:moveTo>
                  <a:cubicBezTo>
                    <a:pt x="1674175" y="377916"/>
                    <a:pt x="1628455" y="345531"/>
                    <a:pt x="1578925" y="321719"/>
                  </a:cubicBezTo>
                  <a:cubicBezTo>
                    <a:pt x="1533205" y="299811"/>
                    <a:pt x="1476055" y="285523"/>
                    <a:pt x="1427478" y="272189"/>
                  </a:cubicBezTo>
                  <a:cubicBezTo>
                    <a:pt x="1418905" y="269331"/>
                    <a:pt x="1407475" y="267426"/>
                    <a:pt x="1396998" y="265521"/>
                  </a:cubicBezTo>
                  <a:cubicBezTo>
                    <a:pt x="1388425" y="263616"/>
                    <a:pt x="1378900" y="260758"/>
                    <a:pt x="1367470" y="258853"/>
                  </a:cubicBezTo>
                  <a:cubicBezTo>
                    <a:pt x="1288413" y="242661"/>
                    <a:pt x="1140775" y="258853"/>
                    <a:pt x="1042668" y="296953"/>
                  </a:cubicBezTo>
                  <a:cubicBezTo>
                    <a:pt x="997900" y="312194"/>
                    <a:pt x="952180" y="327433"/>
                    <a:pt x="896935" y="334101"/>
                  </a:cubicBezTo>
                  <a:cubicBezTo>
                    <a:pt x="677860" y="362676"/>
                    <a:pt x="497838" y="286476"/>
                    <a:pt x="414018" y="220753"/>
                  </a:cubicBezTo>
                  <a:cubicBezTo>
                    <a:pt x="362583" y="180748"/>
                    <a:pt x="325435" y="141696"/>
                    <a:pt x="283525" y="99786"/>
                  </a:cubicBezTo>
                  <a:cubicBezTo>
                    <a:pt x="261618" y="76926"/>
                    <a:pt x="239710" y="54066"/>
                    <a:pt x="219708" y="29301"/>
                  </a:cubicBezTo>
                  <a:cubicBezTo>
                    <a:pt x="203515" y="8346"/>
                    <a:pt x="185418" y="-3084"/>
                    <a:pt x="156843" y="726"/>
                  </a:cubicBezTo>
                  <a:cubicBezTo>
                    <a:pt x="119695" y="5488"/>
                    <a:pt x="-32705" y="77878"/>
                    <a:pt x="6348" y="128361"/>
                  </a:cubicBezTo>
                  <a:cubicBezTo>
                    <a:pt x="39685" y="171223"/>
                    <a:pt x="257808" y="408396"/>
                    <a:pt x="345438" y="476976"/>
                  </a:cubicBezTo>
                  <a:cubicBezTo>
                    <a:pt x="443545" y="554128"/>
                    <a:pt x="533080" y="612231"/>
                    <a:pt x="647380" y="651283"/>
                  </a:cubicBezTo>
                  <a:cubicBezTo>
                    <a:pt x="685480" y="664619"/>
                    <a:pt x="725485" y="676048"/>
                    <a:pt x="764538" y="690336"/>
                  </a:cubicBezTo>
                  <a:cubicBezTo>
                    <a:pt x="805495" y="704623"/>
                    <a:pt x="846453" y="721769"/>
                    <a:pt x="883600" y="744628"/>
                  </a:cubicBezTo>
                  <a:cubicBezTo>
                    <a:pt x="953133" y="786539"/>
                    <a:pt x="1002663" y="850356"/>
                    <a:pt x="1026475" y="926556"/>
                  </a:cubicBezTo>
                  <a:cubicBezTo>
                    <a:pt x="1032190" y="951321"/>
                    <a:pt x="1036000" y="976086"/>
                    <a:pt x="1039810" y="1000851"/>
                  </a:cubicBezTo>
                  <a:lnTo>
                    <a:pt x="1650363" y="1000851"/>
                  </a:lnTo>
                  <a:cubicBezTo>
                    <a:pt x="1713228" y="1000851"/>
                    <a:pt x="1763710" y="950369"/>
                    <a:pt x="1763710" y="887503"/>
                  </a:cubicBezTo>
                  <a:lnTo>
                    <a:pt x="1763710" y="498883"/>
                  </a:lnTo>
                  <a:cubicBezTo>
                    <a:pt x="1746565" y="470308"/>
                    <a:pt x="1730373" y="443639"/>
                    <a:pt x="1709418" y="419826"/>
                  </a:cubicBezTo>
                  <a:lnTo>
                    <a:pt x="1709418" y="419826"/>
                  </a:lnTo>
                  <a:close/>
                </a:path>
              </a:pathLst>
            </a:custGeom>
            <a:solidFill>
              <a:schemeClr val="accent2">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9" name="Freeform: Shape 33">
              <a:extLst>
                <a:ext uri="{FF2B5EF4-FFF2-40B4-BE49-F238E27FC236}">
                  <a16:creationId xmlns:a16="http://schemas.microsoft.com/office/drawing/2014/main" id="{F111AE43-A7D6-7ED2-BEEB-DA6D5A794CC9}"/>
                </a:ext>
              </a:extLst>
            </p:cNvPr>
            <p:cNvSpPr/>
            <p:nvPr/>
          </p:nvSpPr>
          <p:spPr>
            <a:xfrm>
              <a:off x="1680887" y="2927285"/>
              <a:ext cx="76085" cy="307706"/>
            </a:xfrm>
            <a:custGeom>
              <a:avLst/>
              <a:gdLst>
                <a:gd name="connsiteX0" fmla="*/ 59764 w 127628"/>
                <a:gd name="connsiteY0" fmla="*/ 516011 h 516157"/>
                <a:gd name="connsiteX1" fmla="*/ 57859 w 127628"/>
                <a:gd name="connsiteY1" fmla="*/ 516011 h 516157"/>
                <a:gd name="connsiteX2" fmla="*/ 50239 w 127628"/>
                <a:gd name="connsiteY2" fmla="*/ 504582 h 516157"/>
                <a:gd name="connsiteX3" fmla="*/ 77861 w 127628"/>
                <a:gd name="connsiteY3" fmla="*/ 410284 h 516157"/>
                <a:gd name="connsiteX4" fmla="*/ 109294 w 127628"/>
                <a:gd name="connsiteY4" fmla="*/ 277886 h 516157"/>
                <a:gd name="connsiteX5" fmla="*/ 36904 w 127628"/>
                <a:gd name="connsiteY5" fmla="*/ 63574 h 516157"/>
                <a:gd name="connsiteX6" fmla="*/ 1661 w 127628"/>
                <a:gd name="connsiteY6" fmla="*/ 14997 h 516157"/>
                <a:gd name="connsiteX7" fmla="*/ 3566 w 127628"/>
                <a:gd name="connsiteY7" fmla="*/ 1661 h 516157"/>
                <a:gd name="connsiteX8" fmla="*/ 16902 w 127628"/>
                <a:gd name="connsiteY8" fmla="*/ 3566 h 516157"/>
                <a:gd name="connsiteX9" fmla="*/ 52144 w 127628"/>
                <a:gd name="connsiteY9" fmla="*/ 52144 h 516157"/>
                <a:gd name="connsiteX10" fmla="*/ 127391 w 127628"/>
                <a:gd name="connsiteY10" fmla="*/ 277886 h 516157"/>
                <a:gd name="connsiteX11" fmla="*/ 95007 w 127628"/>
                <a:gd name="connsiteY11" fmla="*/ 415999 h 516157"/>
                <a:gd name="connsiteX12" fmla="*/ 68336 w 127628"/>
                <a:gd name="connsiteY12" fmla="*/ 507439 h 516157"/>
                <a:gd name="connsiteX13" fmla="*/ 59764 w 127628"/>
                <a:gd name="connsiteY13" fmla="*/ 516011 h 516157"/>
                <a:gd name="connsiteX14" fmla="*/ 59764 w 127628"/>
                <a:gd name="connsiteY14" fmla="*/ 516011 h 51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7628" h="516157">
                  <a:moveTo>
                    <a:pt x="59764" y="516011"/>
                  </a:moveTo>
                  <a:cubicBezTo>
                    <a:pt x="58811" y="516011"/>
                    <a:pt x="58811" y="516011"/>
                    <a:pt x="57859" y="516011"/>
                  </a:cubicBezTo>
                  <a:cubicBezTo>
                    <a:pt x="53097" y="515059"/>
                    <a:pt x="49286" y="510297"/>
                    <a:pt x="50239" y="504582"/>
                  </a:cubicBezTo>
                  <a:cubicBezTo>
                    <a:pt x="55954" y="472197"/>
                    <a:pt x="67384" y="440764"/>
                    <a:pt x="77861" y="410284"/>
                  </a:cubicBezTo>
                  <a:cubicBezTo>
                    <a:pt x="92149" y="367422"/>
                    <a:pt x="107389" y="323607"/>
                    <a:pt x="109294" y="277886"/>
                  </a:cubicBezTo>
                  <a:cubicBezTo>
                    <a:pt x="112152" y="190257"/>
                    <a:pt x="72147" y="113104"/>
                    <a:pt x="36904" y="63574"/>
                  </a:cubicBezTo>
                  <a:cubicBezTo>
                    <a:pt x="23569" y="44524"/>
                    <a:pt x="12139" y="29284"/>
                    <a:pt x="1661" y="14997"/>
                  </a:cubicBezTo>
                  <a:cubicBezTo>
                    <a:pt x="-1196" y="11186"/>
                    <a:pt x="-243" y="4519"/>
                    <a:pt x="3566" y="1661"/>
                  </a:cubicBezTo>
                  <a:cubicBezTo>
                    <a:pt x="7377" y="-1196"/>
                    <a:pt x="14044" y="-243"/>
                    <a:pt x="16902" y="3566"/>
                  </a:cubicBezTo>
                  <a:cubicBezTo>
                    <a:pt x="27379" y="17854"/>
                    <a:pt x="38809" y="33094"/>
                    <a:pt x="52144" y="52144"/>
                  </a:cubicBezTo>
                  <a:cubicBezTo>
                    <a:pt x="88339" y="103579"/>
                    <a:pt x="131202" y="185494"/>
                    <a:pt x="127391" y="277886"/>
                  </a:cubicBezTo>
                  <a:cubicBezTo>
                    <a:pt x="125486" y="325511"/>
                    <a:pt x="110247" y="371232"/>
                    <a:pt x="95007" y="415999"/>
                  </a:cubicBezTo>
                  <a:cubicBezTo>
                    <a:pt x="84529" y="446479"/>
                    <a:pt x="74052" y="476959"/>
                    <a:pt x="68336" y="507439"/>
                  </a:cubicBezTo>
                  <a:cubicBezTo>
                    <a:pt x="68336" y="513154"/>
                    <a:pt x="63574" y="516964"/>
                    <a:pt x="59764" y="516011"/>
                  </a:cubicBezTo>
                  <a:lnTo>
                    <a:pt x="59764" y="516011"/>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0" name="Freeform: Shape 34">
              <a:extLst>
                <a:ext uri="{FF2B5EF4-FFF2-40B4-BE49-F238E27FC236}">
                  <a16:creationId xmlns:a16="http://schemas.microsoft.com/office/drawing/2014/main" id="{F2AC8DE1-E1BB-142A-E385-D109FF1C546D}"/>
                </a:ext>
              </a:extLst>
            </p:cNvPr>
            <p:cNvSpPr/>
            <p:nvPr/>
          </p:nvSpPr>
          <p:spPr>
            <a:xfrm>
              <a:off x="1423310" y="2580423"/>
              <a:ext cx="182242" cy="390562"/>
            </a:xfrm>
            <a:custGeom>
              <a:avLst/>
              <a:gdLst>
                <a:gd name="connsiteX0" fmla="*/ 252756 w 305700"/>
                <a:gd name="connsiteY0" fmla="*/ 510159 h 655143"/>
                <a:gd name="connsiteX1" fmla="*/ 213704 w 305700"/>
                <a:gd name="connsiteY1" fmla="*/ 366331 h 655143"/>
                <a:gd name="connsiteX2" fmla="*/ 212751 w 305700"/>
                <a:gd name="connsiteY2" fmla="*/ 338709 h 655143"/>
                <a:gd name="connsiteX3" fmla="*/ 243231 w 305700"/>
                <a:gd name="connsiteY3" fmla="*/ 296799 h 655143"/>
                <a:gd name="connsiteX4" fmla="*/ 265139 w 305700"/>
                <a:gd name="connsiteY4" fmla="*/ 153924 h 655143"/>
                <a:gd name="connsiteX5" fmla="*/ 229896 w 305700"/>
                <a:gd name="connsiteY5" fmla="*/ 17716 h 655143"/>
                <a:gd name="connsiteX6" fmla="*/ 207989 w 305700"/>
                <a:gd name="connsiteY6" fmla="*/ 5334 h 655143"/>
                <a:gd name="connsiteX7" fmla="*/ 49873 w 305700"/>
                <a:gd name="connsiteY7" fmla="*/ 39624 h 655143"/>
                <a:gd name="connsiteX8" fmla="*/ 16536 w 305700"/>
                <a:gd name="connsiteY8" fmla="*/ 65341 h 655143"/>
                <a:gd name="connsiteX9" fmla="*/ 4154 w 305700"/>
                <a:gd name="connsiteY9" fmla="*/ 97726 h 655143"/>
                <a:gd name="connsiteX10" fmla="*/ 344 w 305700"/>
                <a:gd name="connsiteY10" fmla="*/ 194881 h 655143"/>
                <a:gd name="connsiteX11" fmla="*/ 27966 w 305700"/>
                <a:gd name="connsiteY11" fmla="*/ 311086 h 655143"/>
                <a:gd name="connsiteX12" fmla="*/ 42254 w 305700"/>
                <a:gd name="connsiteY12" fmla="*/ 327279 h 655143"/>
                <a:gd name="connsiteX13" fmla="*/ 42254 w 305700"/>
                <a:gd name="connsiteY13" fmla="*/ 444436 h 655143"/>
                <a:gd name="connsiteX14" fmla="*/ 67019 w 305700"/>
                <a:gd name="connsiteY14" fmla="*/ 493966 h 655143"/>
                <a:gd name="connsiteX15" fmla="*/ 71781 w 305700"/>
                <a:gd name="connsiteY15" fmla="*/ 499681 h 655143"/>
                <a:gd name="connsiteX16" fmla="*/ 147029 w 305700"/>
                <a:gd name="connsiteY16" fmla="*/ 556831 h 655143"/>
                <a:gd name="connsiteX17" fmla="*/ 298476 w 305700"/>
                <a:gd name="connsiteY17" fmla="*/ 653986 h 655143"/>
                <a:gd name="connsiteX18" fmla="*/ 252756 w 305700"/>
                <a:gd name="connsiteY18" fmla="*/ 510159 h 655143"/>
                <a:gd name="connsiteX19" fmla="*/ 252756 w 305700"/>
                <a:gd name="connsiteY19" fmla="*/ 510159 h 655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05700" h="655143">
                  <a:moveTo>
                    <a:pt x="252756" y="510159"/>
                  </a:moveTo>
                  <a:cubicBezTo>
                    <a:pt x="230848" y="465391"/>
                    <a:pt x="214656" y="415861"/>
                    <a:pt x="213704" y="366331"/>
                  </a:cubicBezTo>
                  <a:cubicBezTo>
                    <a:pt x="213704" y="359664"/>
                    <a:pt x="213704" y="350139"/>
                    <a:pt x="212751" y="338709"/>
                  </a:cubicBezTo>
                  <a:cubicBezTo>
                    <a:pt x="227039" y="328231"/>
                    <a:pt x="236564" y="314896"/>
                    <a:pt x="243231" y="296799"/>
                  </a:cubicBezTo>
                  <a:cubicBezTo>
                    <a:pt x="261329" y="252031"/>
                    <a:pt x="262281" y="201549"/>
                    <a:pt x="265139" y="153924"/>
                  </a:cubicBezTo>
                  <a:cubicBezTo>
                    <a:pt x="267996" y="109156"/>
                    <a:pt x="267044" y="48196"/>
                    <a:pt x="229896" y="17716"/>
                  </a:cubicBezTo>
                  <a:cubicBezTo>
                    <a:pt x="223229" y="12001"/>
                    <a:pt x="215609" y="8191"/>
                    <a:pt x="207989" y="5334"/>
                  </a:cubicBezTo>
                  <a:cubicBezTo>
                    <a:pt x="159411" y="-11811"/>
                    <a:pt x="87973" y="15811"/>
                    <a:pt x="49873" y="39624"/>
                  </a:cubicBezTo>
                  <a:cubicBezTo>
                    <a:pt x="38444" y="47244"/>
                    <a:pt x="27014" y="55816"/>
                    <a:pt x="16536" y="65341"/>
                  </a:cubicBezTo>
                  <a:cubicBezTo>
                    <a:pt x="5106" y="75819"/>
                    <a:pt x="6059" y="82486"/>
                    <a:pt x="4154" y="97726"/>
                  </a:cubicBezTo>
                  <a:cubicBezTo>
                    <a:pt x="344" y="130111"/>
                    <a:pt x="-609" y="162496"/>
                    <a:pt x="344" y="194881"/>
                  </a:cubicBezTo>
                  <a:cubicBezTo>
                    <a:pt x="2248" y="232029"/>
                    <a:pt x="6059" y="279654"/>
                    <a:pt x="27966" y="311086"/>
                  </a:cubicBezTo>
                  <a:cubicBezTo>
                    <a:pt x="31776" y="316801"/>
                    <a:pt x="36539" y="322516"/>
                    <a:pt x="42254" y="327279"/>
                  </a:cubicBezTo>
                  <a:lnTo>
                    <a:pt x="42254" y="444436"/>
                  </a:lnTo>
                  <a:cubicBezTo>
                    <a:pt x="42254" y="444436"/>
                    <a:pt x="41301" y="461581"/>
                    <a:pt x="67019" y="493966"/>
                  </a:cubicBezTo>
                  <a:cubicBezTo>
                    <a:pt x="68923" y="495871"/>
                    <a:pt x="70829" y="497776"/>
                    <a:pt x="71781" y="499681"/>
                  </a:cubicBezTo>
                  <a:cubicBezTo>
                    <a:pt x="92736" y="522541"/>
                    <a:pt x="120359" y="539686"/>
                    <a:pt x="147029" y="556831"/>
                  </a:cubicBezTo>
                  <a:cubicBezTo>
                    <a:pt x="197511" y="589216"/>
                    <a:pt x="275616" y="665416"/>
                    <a:pt x="298476" y="653986"/>
                  </a:cubicBezTo>
                  <a:cubicBezTo>
                    <a:pt x="324194" y="643509"/>
                    <a:pt x="274664" y="554926"/>
                    <a:pt x="252756" y="510159"/>
                  </a:cubicBezTo>
                  <a:lnTo>
                    <a:pt x="252756" y="510159"/>
                  </a:lnTo>
                  <a:close/>
                </a:path>
              </a:pathLst>
            </a:custGeom>
            <a:solidFill>
              <a:srgbClr val="F9D8C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1" name="Freeform: Shape 35">
              <a:extLst>
                <a:ext uri="{FF2B5EF4-FFF2-40B4-BE49-F238E27FC236}">
                  <a16:creationId xmlns:a16="http://schemas.microsoft.com/office/drawing/2014/main" id="{3DC39273-4219-8201-10A7-79A881C554A0}"/>
                </a:ext>
              </a:extLst>
            </p:cNvPr>
            <p:cNvSpPr/>
            <p:nvPr/>
          </p:nvSpPr>
          <p:spPr>
            <a:xfrm>
              <a:off x="1408224" y="2559194"/>
              <a:ext cx="185150" cy="122781"/>
            </a:xfrm>
            <a:custGeom>
              <a:avLst/>
              <a:gdLst>
                <a:gd name="connsiteX0" fmla="*/ 191384 w 310577"/>
                <a:gd name="connsiteY0" fmla="*/ 95236 h 205957"/>
                <a:gd name="connsiteX1" fmla="*/ 236151 w 310577"/>
                <a:gd name="connsiteY1" fmla="*/ 58089 h 205957"/>
                <a:gd name="connsiteX2" fmla="*/ 290444 w 310577"/>
                <a:gd name="connsiteY2" fmla="*/ 133336 h 205957"/>
                <a:gd name="connsiteX3" fmla="*/ 307589 w 310577"/>
                <a:gd name="connsiteY3" fmla="*/ 153339 h 205957"/>
                <a:gd name="connsiteX4" fmla="*/ 294254 w 310577"/>
                <a:gd name="connsiteY4" fmla="*/ 58089 h 205957"/>
                <a:gd name="connsiteX5" fmla="*/ 142806 w 310577"/>
                <a:gd name="connsiteY5" fmla="*/ 3796 h 205957"/>
                <a:gd name="connsiteX6" fmla="*/ 7551 w 310577"/>
                <a:gd name="connsiteY6" fmla="*/ 106666 h 205957"/>
                <a:gd name="connsiteX7" fmla="*/ 9456 w 310577"/>
                <a:gd name="connsiteY7" fmla="*/ 205726 h 205957"/>
                <a:gd name="connsiteX8" fmla="*/ 124709 w 310577"/>
                <a:gd name="connsiteY8" fmla="*/ 98094 h 205957"/>
                <a:gd name="connsiteX9" fmla="*/ 98039 w 310577"/>
                <a:gd name="connsiteY9" fmla="*/ 131431 h 205957"/>
                <a:gd name="connsiteX10" fmla="*/ 99944 w 310577"/>
                <a:gd name="connsiteY10" fmla="*/ 135241 h 205957"/>
                <a:gd name="connsiteX11" fmla="*/ 175191 w 310577"/>
                <a:gd name="connsiteY11" fmla="*/ 103809 h 205957"/>
                <a:gd name="connsiteX12" fmla="*/ 191384 w 310577"/>
                <a:gd name="connsiteY12" fmla="*/ 95236 h 205957"/>
                <a:gd name="connsiteX13" fmla="*/ 191384 w 310577"/>
                <a:gd name="connsiteY13" fmla="*/ 95236 h 205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0577" h="205957">
                  <a:moveTo>
                    <a:pt x="191384" y="95236"/>
                  </a:moveTo>
                  <a:cubicBezTo>
                    <a:pt x="209481" y="85711"/>
                    <a:pt x="228531" y="74281"/>
                    <a:pt x="236151" y="58089"/>
                  </a:cubicBezTo>
                  <a:cubicBezTo>
                    <a:pt x="219959" y="93331"/>
                    <a:pt x="271394" y="117144"/>
                    <a:pt x="290444" y="133336"/>
                  </a:cubicBezTo>
                  <a:cubicBezTo>
                    <a:pt x="297111" y="139051"/>
                    <a:pt x="302826" y="145719"/>
                    <a:pt x="307589" y="153339"/>
                  </a:cubicBezTo>
                  <a:cubicBezTo>
                    <a:pt x="311399" y="160959"/>
                    <a:pt x="315209" y="93331"/>
                    <a:pt x="294254" y="58089"/>
                  </a:cubicBezTo>
                  <a:cubicBezTo>
                    <a:pt x="261869" y="5701"/>
                    <a:pt x="199956" y="-7634"/>
                    <a:pt x="142806" y="3796"/>
                  </a:cubicBezTo>
                  <a:cubicBezTo>
                    <a:pt x="84704" y="16179"/>
                    <a:pt x="24696" y="49516"/>
                    <a:pt x="7551" y="106666"/>
                  </a:cubicBezTo>
                  <a:cubicBezTo>
                    <a:pt x="-9594" y="165721"/>
                    <a:pt x="7551" y="209536"/>
                    <a:pt x="9456" y="205726"/>
                  </a:cubicBezTo>
                  <a:cubicBezTo>
                    <a:pt x="35174" y="159054"/>
                    <a:pt x="76131" y="120954"/>
                    <a:pt x="124709" y="98094"/>
                  </a:cubicBezTo>
                  <a:cubicBezTo>
                    <a:pt x="118994" y="110476"/>
                    <a:pt x="109469" y="121906"/>
                    <a:pt x="98039" y="131431"/>
                  </a:cubicBezTo>
                  <a:cubicBezTo>
                    <a:pt x="96134" y="133336"/>
                    <a:pt x="98039" y="136194"/>
                    <a:pt x="99944" y="135241"/>
                  </a:cubicBezTo>
                  <a:cubicBezTo>
                    <a:pt x="125661" y="126669"/>
                    <a:pt x="151379" y="116191"/>
                    <a:pt x="175191" y="103809"/>
                  </a:cubicBezTo>
                  <a:cubicBezTo>
                    <a:pt x="179954" y="100951"/>
                    <a:pt x="185669" y="98094"/>
                    <a:pt x="191384" y="95236"/>
                  </a:cubicBezTo>
                  <a:lnTo>
                    <a:pt x="191384" y="95236"/>
                  </a:lnTo>
                  <a:close/>
                </a:path>
              </a:pathLst>
            </a:custGeom>
            <a:solidFill>
              <a:srgbClr val="B3733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2" name="Freeform: Shape 36">
              <a:extLst>
                <a:ext uri="{FF2B5EF4-FFF2-40B4-BE49-F238E27FC236}">
                  <a16:creationId xmlns:a16="http://schemas.microsoft.com/office/drawing/2014/main" id="{D047B3F9-D3CC-F072-CBDE-7D41BA4DF76A}"/>
                </a:ext>
              </a:extLst>
            </p:cNvPr>
            <p:cNvSpPr/>
            <p:nvPr/>
          </p:nvSpPr>
          <p:spPr>
            <a:xfrm>
              <a:off x="1476465" y="2736918"/>
              <a:ext cx="53802" cy="21578"/>
            </a:xfrm>
            <a:custGeom>
              <a:avLst/>
              <a:gdLst>
                <a:gd name="connsiteX0" fmla="*/ 90249 w 90249"/>
                <a:gd name="connsiteY0" fmla="*/ 1905 h 36195"/>
                <a:gd name="connsiteX1" fmla="*/ 87392 w 90249"/>
                <a:gd name="connsiteY1" fmla="*/ 0 h 36195"/>
                <a:gd name="connsiteX2" fmla="*/ 3572 w 90249"/>
                <a:gd name="connsiteY2" fmla="*/ 0 h 36195"/>
                <a:gd name="connsiteX3" fmla="*/ 714 w 90249"/>
                <a:gd name="connsiteY3" fmla="*/ 1905 h 36195"/>
                <a:gd name="connsiteX4" fmla="*/ 714 w 90249"/>
                <a:gd name="connsiteY4" fmla="*/ 5715 h 36195"/>
                <a:gd name="connsiteX5" fmla="*/ 45482 w 90249"/>
                <a:gd name="connsiteY5" fmla="*/ 36195 h 36195"/>
                <a:gd name="connsiteX6" fmla="*/ 46434 w 90249"/>
                <a:gd name="connsiteY6" fmla="*/ 36195 h 36195"/>
                <a:gd name="connsiteX7" fmla="*/ 90249 w 90249"/>
                <a:gd name="connsiteY7" fmla="*/ 5715 h 36195"/>
                <a:gd name="connsiteX8" fmla="*/ 90249 w 90249"/>
                <a:gd name="connsiteY8" fmla="*/ 1905 h 36195"/>
                <a:gd name="connsiteX9" fmla="*/ 90249 w 90249"/>
                <a:gd name="connsiteY9" fmla="*/ 1905 h 36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249" h="36195">
                  <a:moveTo>
                    <a:pt x="90249" y="1905"/>
                  </a:moveTo>
                  <a:cubicBezTo>
                    <a:pt x="89297" y="952"/>
                    <a:pt x="88344" y="0"/>
                    <a:pt x="87392" y="0"/>
                  </a:cubicBezTo>
                  <a:lnTo>
                    <a:pt x="3572" y="0"/>
                  </a:lnTo>
                  <a:cubicBezTo>
                    <a:pt x="2619" y="0"/>
                    <a:pt x="1667" y="952"/>
                    <a:pt x="714" y="1905"/>
                  </a:cubicBezTo>
                  <a:cubicBezTo>
                    <a:pt x="-238" y="2858"/>
                    <a:pt x="-238" y="3810"/>
                    <a:pt x="714" y="5715"/>
                  </a:cubicBezTo>
                  <a:cubicBezTo>
                    <a:pt x="11192" y="26670"/>
                    <a:pt x="25479" y="36195"/>
                    <a:pt x="45482" y="36195"/>
                  </a:cubicBezTo>
                  <a:lnTo>
                    <a:pt x="46434" y="36195"/>
                  </a:lnTo>
                  <a:cubicBezTo>
                    <a:pt x="66437" y="36195"/>
                    <a:pt x="81677" y="25717"/>
                    <a:pt x="90249" y="5715"/>
                  </a:cubicBezTo>
                  <a:cubicBezTo>
                    <a:pt x="90249" y="3810"/>
                    <a:pt x="90249" y="2858"/>
                    <a:pt x="90249" y="1905"/>
                  </a:cubicBezTo>
                  <a:lnTo>
                    <a:pt x="90249" y="1905"/>
                  </a:lnTo>
                  <a:close/>
                </a:path>
              </a:pathLst>
            </a:custGeom>
            <a:solidFill>
              <a:srgbClr val="C69E8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3" name="Freeform: Shape 37">
              <a:extLst>
                <a:ext uri="{FF2B5EF4-FFF2-40B4-BE49-F238E27FC236}">
                  <a16:creationId xmlns:a16="http://schemas.microsoft.com/office/drawing/2014/main" id="{F6B4F777-68B6-C75F-7C0F-F8401B4128BF}"/>
                </a:ext>
              </a:extLst>
            </p:cNvPr>
            <p:cNvSpPr/>
            <p:nvPr/>
          </p:nvSpPr>
          <p:spPr>
            <a:xfrm>
              <a:off x="1954437" y="2608020"/>
              <a:ext cx="669472" cy="669472"/>
            </a:xfrm>
            <a:custGeom>
              <a:avLst/>
              <a:gdLst>
                <a:gd name="connsiteX0" fmla="*/ 113347 w 1122997"/>
                <a:gd name="connsiteY0" fmla="*/ 0 h 1122997"/>
                <a:gd name="connsiteX1" fmla="*/ 1009650 w 1122997"/>
                <a:gd name="connsiteY1" fmla="*/ 0 h 1122997"/>
                <a:gd name="connsiteX2" fmla="*/ 1122998 w 1122997"/>
                <a:gd name="connsiteY2" fmla="*/ 113347 h 1122997"/>
                <a:gd name="connsiteX3" fmla="*/ 1122998 w 1122997"/>
                <a:gd name="connsiteY3" fmla="*/ 1009650 h 1122997"/>
                <a:gd name="connsiteX4" fmla="*/ 1009650 w 1122997"/>
                <a:gd name="connsiteY4" fmla="*/ 1122998 h 1122997"/>
                <a:gd name="connsiteX5" fmla="*/ 113347 w 1122997"/>
                <a:gd name="connsiteY5" fmla="*/ 1122998 h 1122997"/>
                <a:gd name="connsiteX6" fmla="*/ 0 w 1122997"/>
                <a:gd name="connsiteY6" fmla="*/ 1009650 h 1122997"/>
                <a:gd name="connsiteX7" fmla="*/ 0 w 1122997"/>
                <a:gd name="connsiteY7" fmla="*/ 113347 h 1122997"/>
                <a:gd name="connsiteX8" fmla="*/ 113347 w 1122997"/>
                <a:gd name="connsiteY8" fmla="*/ 0 h 1122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2997" h="1122997">
                  <a:moveTo>
                    <a:pt x="113347" y="0"/>
                  </a:moveTo>
                  <a:lnTo>
                    <a:pt x="1009650" y="0"/>
                  </a:lnTo>
                  <a:cubicBezTo>
                    <a:pt x="1072515" y="0"/>
                    <a:pt x="1122998" y="50482"/>
                    <a:pt x="1122998" y="113347"/>
                  </a:cubicBezTo>
                  <a:lnTo>
                    <a:pt x="1122998" y="1009650"/>
                  </a:lnTo>
                  <a:cubicBezTo>
                    <a:pt x="1122998" y="1072515"/>
                    <a:pt x="1072515" y="1122998"/>
                    <a:pt x="1009650" y="1122998"/>
                  </a:cubicBezTo>
                  <a:lnTo>
                    <a:pt x="113347" y="1122998"/>
                  </a:lnTo>
                  <a:cubicBezTo>
                    <a:pt x="50482" y="1122998"/>
                    <a:pt x="0" y="1072515"/>
                    <a:pt x="0" y="1009650"/>
                  </a:cubicBezTo>
                  <a:lnTo>
                    <a:pt x="0" y="113347"/>
                  </a:lnTo>
                  <a:cubicBezTo>
                    <a:pt x="952" y="50482"/>
                    <a:pt x="51435" y="0"/>
                    <a:pt x="113347" y="0"/>
                  </a:cubicBezTo>
                  <a:close/>
                </a:path>
              </a:pathLst>
            </a:custGeom>
            <a:solidFill>
              <a:schemeClr val="accent6">
                <a:lumMod val="40000"/>
                <a:lumOff val="6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4" name="Freeform: Shape 38">
              <a:extLst>
                <a:ext uri="{FF2B5EF4-FFF2-40B4-BE49-F238E27FC236}">
                  <a16:creationId xmlns:a16="http://schemas.microsoft.com/office/drawing/2014/main" id="{351BDEFB-4199-48A4-3036-98F87045E114}"/>
                </a:ext>
              </a:extLst>
            </p:cNvPr>
            <p:cNvSpPr/>
            <p:nvPr/>
          </p:nvSpPr>
          <p:spPr>
            <a:xfrm>
              <a:off x="2430164" y="2118166"/>
              <a:ext cx="290391" cy="277910"/>
            </a:xfrm>
            <a:custGeom>
              <a:avLst/>
              <a:gdLst>
                <a:gd name="connsiteX0" fmla="*/ 250700 w 487113"/>
                <a:gd name="connsiteY0" fmla="*/ 68270 h 466177"/>
                <a:gd name="connsiteX1" fmla="*/ 375478 w 487113"/>
                <a:gd name="connsiteY1" fmla="*/ 2548 h 466177"/>
                <a:gd name="connsiteX2" fmla="*/ 400243 w 487113"/>
                <a:gd name="connsiteY2" fmla="*/ 20645 h 466177"/>
                <a:gd name="connsiteX3" fmla="*/ 376430 w 487113"/>
                <a:gd name="connsiteY3" fmla="*/ 158758 h 466177"/>
                <a:gd name="connsiteX4" fmla="*/ 381193 w 487113"/>
                <a:gd name="connsiteY4" fmla="*/ 173998 h 466177"/>
                <a:gd name="connsiteX5" fmla="*/ 482158 w 487113"/>
                <a:gd name="connsiteY5" fmla="*/ 272105 h 466177"/>
                <a:gd name="connsiteX6" fmla="*/ 472633 w 487113"/>
                <a:gd name="connsiteY6" fmla="*/ 300680 h 466177"/>
                <a:gd name="connsiteX7" fmla="*/ 333568 w 487113"/>
                <a:gd name="connsiteY7" fmla="*/ 320683 h 466177"/>
                <a:gd name="connsiteX8" fmla="*/ 321186 w 487113"/>
                <a:gd name="connsiteY8" fmla="*/ 330208 h 466177"/>
                <a:gd name="connsiteX9" fmla="*/ 258321 w 487113"/>
                <a:gd name="connsiteY9" fmla="*/ 456890 h 466177"/>
                <a:gd name="connsiteX10" fmla="*/ 227840 w 487113"/>
                <a:gd name="connsiteY10" fmla="*/ 456890 h 466177"/>
                <a:gd name="connsiteX11" fmla="*/ 165928 w 487113"/>
                <a:gd name="connsiteY11" fmla="*/ 330208 h 466177"/>
                <a:gd name="connsiteX12" fmla="*/ 153546 w 487113"/>
                <a:gd name="connsiteY12" fmla="*/ 320683 h 466177"/>
                <a:gd name="connsiteX13" fmla="*/ 14480 w 487113"/>
                <a:gd name="connsiteY13" fmla="*/ 300680 h 466177"/>
                <a:gd name="connsiteX14" fmla="*/ 4955 w 487113"/>
                <a:gd name="connsiteY14" fmla="*/ 272105 h 466177"/>
                <a:gd name="connsiteX15" fmla="*/ 105921 w 487113"/>
                <a:gd name="connsiteY15" fmla="*/ 173998 h 466177"/>
                <a:gd name="connsiteX16" fmla="*/ 110683 w 487113"/>
                <a:gd name="connsiteY16" fmla="*/ 158758 h 466177"/>
                <a:gd name="connsiteX17" fmla="*/ 86871 w 487113"/>
                <a:gd name="connsiteY17" fmla="*/ 19693 h 466177"/>
                <a:gd name="connsiteX18" fmla="*/ 111636 w 487113"/>
                <a:gd name="connsiteY18" fmla="*/ 1595 h 466177"/>
                <a:gd name="connsiteX19" fmla="*/ 236413 w 487113"/>
                <a:gd name="connsiteY19" fmla="*/ 67318 h 466177"/>
                <a:gd name="connsiteX20" fmla="*/ 250700 w 487113"/>
                <a:gd name="connsiteY20" fmla="*/ 68270 h 46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7113" h="466177">
                  <a:moveTo>
                    <a:pt x="250700" y="68270"/>
                  </a:moveTo>
                  <a:lnTo>
                    <a:pt x="375478" y="2548"/>
                  </a:lnTo>
                  <a:cubicBezTo>
                    <a:pt x="387861" y="-4120"/>
                    <a:pt x="402148" y="6358"/>
                    <a:pt x="400243" y="20645"/>
                  </a:cubicBezTo>
                  <a:lnTo>
                    <a:pt x="376430" y="158758"/>
                  </a:lnTo>
                  <a:cubicBezTo>
                    <a:pt x="375478" y="164473"/>
                    <a:pt x="377383" y="170188"/>
                    <a:pt x="381193" y="173998"/>
                  </a:cubicBezTo>
                  <a:lnTo>
                    <a:pt x="482158" y="272105"/>
                  </a:lnTo>
                  <a:cubicBezTo>
                    <a:pt x="491683" y="281630"/>
                    <a:pt x="486921" y="298775"/>
                    <a:pt x="472633" y="300680"/>
                  </a:cubicBezTo>
                  <a:lnTo>
                    <a:pt x="333568" y="320683"/>
                  </a:lnTo>
                  <a:cubicBezTo>
                    <a:pt x="327853" y="321635"/>
                    <a:pt x="323090" y="325445"/>
                    <a:pt x="321186" y="330208"/>
                  </a:cubicBezTo>
                  <a:lnTo>
                    <a:pt x="258321" y="456890"/>
                  </a:lnTo>
                  <a:cubicBezTo>
                    <a:pt x="252605" y="469273"/>
                    <a:pt x="234508" y="469273"/>
                    <a:pt x="227840" y="456890"/>
                  </a:cubicBezTo>
                  <a:lnTo>
                    <a:pt x="165928" y="330208"/>
                  </a:lnTo>
                  <a:cubicBezTo>
                    <a:pt x="163071" y="325445"/>
                    <a:pt x="158308" y="321635"/>
                    <a:pt x="153546" y="320683"/>
                  </a:cubicBezTo>
                  <a:lnTo>
                    <a:pt x="14480" y="300680"/>
                  </a:lnTo>
                  <a:cubicBezTo>
                    <a:pt x="193" y="298775"/>
                    <a:pt x="-4570" y="281630"/>
                    <a:pt x="4955" y="272105"/>
                  </a:cubicBezTo>
                  <a:lnTo>
                    <a:pt x="105921" y="173998"/>
                  </a:lnTo>
                  <a:cubicBezTo>
                    <a:pt x="109730" y="170188"/>
                    <a:pt x="111636" y="164473"/>
                    <a:pt x="110683" y="158758"/>
                  </a:cubicBezTo>
                  <a:lnTo>
                    <a:pt x="86871" y="19693"/>
                  </a:lnTo>
                  <a:cubicBezTo>
                    <a:pt x="84965" y="6358"/>
                    <a:pt x="99253" y="-4120"/>
                    <a:pt x="111636" y="1595"/>
                  </a:cubicBezTo>
                  <a:lnTo>
                    <a:pt x="236413" y="67318"/>
                  </a:lnTo>
                  <a:cubicBezTo>
                    <a:pt x="240223" y="71128"/>
                    <a:pt x="245938" y="71128"/>
                    <a:pt x="250700" y="68270"/>
                  </a:cubicBezTo>
                  <a:close/>
                </a:path>
              </a:pathLst>
            </a:custGeom>
            <a:solidFill>
              <a:schemeClr val="accent2">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5" name="Freeform: Shape 39">
              <a:extLst>
                <a:ext uri="{FF2B5EF4-FFF2-40B4-BE49-F238E27FC236}">
                  <a16:creationId xmlns:a16="http://schemas.microsoft.com/office/drawing/2014/main" id="{A8468D2D-7668-35E4-4BB6-9F5B41A9DC50}"/>
                </a:ext>
              </a:extLst>
            </p:cNvPr>
            <p:cNvSpPr/>
            <p:nvPr/>
          </p:nvSpPr>
          <p:spPr>
            <a:xfrm>
              <a:off x="2506850" y="2299518"/>
              <a:ext cx="113385" cy="228437"/>
            </a:xfrm>
            <a:custGeom>
              <a:avLst/>
              <a:gdLst>
                <a:gd name="connsiteX0" fmla="*/ 65867 w 190196"/>
                <a:gd name="connsiteY0" fmla="*/ 347946 h 383188"/>
                <a:gd name="connsiteX1" fmla="*/ 72535 w 190196"/>
                <a:gd name="connsiteY1" fmla="*/ 380331 h 383188"/>
                <a:gd name="connsiteX2" fmla="*/ 142067 w 190196"/>
                <a:gd name="connsiteY2" fmla="*/ 383189 h 383188"/>
                <a:gd name="connsiteX3" fmla="*/ 162070 w 190196"/>
                <a:gd name="connsiteY3" fmla="*/ 356519 h 383188"/>
                <a:gd name="connsiteX4" fmla="*/ 187787 w 190196"/>
                <a:gd name="connsiteY4" fmla="*/ 102201 h 383188"/>
                <a:gd name="connsiteX5" fmla="*/ 188740 w 190196"/>
                <a:gd name="connsiteY5" fmla="*/ 84104 h 383188"/>
                <a:gd name="connsiteX6" fmla="*/ 156355 w 190196"/>
                <a:gd name="connsiteY6" fmla="*/ 79341 h 383188"/>
                <a:gd name="connsiteX7" fmla="*/ 130637 w 190196"/>
                <a:gd name="connsiteY7" fmla="*/ 133634 h 383188"/>
                <a:gd name="connsiteX8" fmla="*/ 100157 w 190196"/>
                <a:gd name="connsiteY8" fmla="*/ 126014 h 383188"/>
                <a:gd name="connsiteX9" fmla="*/ 47770 w 190196"/>
                <a:gd name="connsiteY9" fmla="*/ 23144 h 383188"/>
                <a:gd name="connsiteX10" fmla="*/ 36340 w 190196"/>
                <a:gd name="connsiteY10" fmla="*/ 5999 h 383188"/>
                <a:gd name="connsiteX11" fmla="*/ 9670 w 190196"/>
                <a:gd name="connsiteY11" fmla="*/ 2189 h 383188"/>
                <a:gd name="connsiteX12" fmla="*/ 145 w 190196"/>
                <a:gd name="connsiteY12" fmla="*/ 20286 h 383188"/>
                <a:gd name="connsiteX13" fmla="*/ 5860 w 190196"/>
                <a:gd name="connsiteY13" fmla="*/ 41241 h 383188"/>
                <a:gd name="connsiteX14" fmla="*/ 51580 w 190196"/>
                <a:gd name="connsiteY14" fmla="*/ 196499 h 383188"/>
                <a:gd name="connsiteX15" fmla="*/ 65867 w 190196"/>
                <a:gd name="connsiteY15" fmla="*/ 347946 h 383188"/>
                <a:gd name="connsiteX16" fmla="*/ 65867 w 190196"/>
                <a:gd name="connsiteY16" fmla="*/ 347946 h 383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196" h="383188">
                  <a:moveTo>
                    <a:pt x="65867" y="347946"/>
                  </a:moveTo>
                  <a:cubicBezTo>
                    <a:pt x="65867" y="353661"/>
                    <a:pt x="68725" y="377474"/>
                    <a:pt x="72535" y="380331"/>
                  </a:cubicBezTo>
                  <a:cubicBezTo>
                    <a:pt x="75392" y="383189"/>
                    <a:pt x="123017" y="383189"/>
                    <a:pt x="142067" y="383189"/>
                  </a:cubicBezTo>
                  <a:cubicBezTo>
                    <a:pt x="161117" y="383189"/>
                    <a:pt x="161117" y="373664"/>
                    <a:pt x="162070" y="356519"/>
                  </a:cubicBezTo>
                  <a:cubicBezTo>
                    <a:pt x="165880" y="277461"/>
                    <a:pt x="166832" y="179354"/>
                    <a:pt x="187787" y="102201"/>
                  </a:cubicBezTo>
                  <a:cubicBezTo>
                    <a:pt x="189692" y="96486"/>
                    <a:pt x="191597" y="89819"/>
                    <a:pt x="188740" y="84104"/>
                  </a:cubicBezTo>
                  <a:cubicBezTo>
                    <a:pt x="184930" y="71721"/>
                    <a:pt x="165880" y="70769"/>
                    <a:pt x="156355" y="79341"/>
                  </a:cubicBezTo>
                  <a:cubicBezTo>
                    <a:pt x="143020" y="90771"/>
                    <a:pt x="142067" y="123156"/>
                    <a:pt x="130637" y="133634"/>
                  </a:cubicBezTo>
                  <a:cubicBezTo>
                    <a:pt x="118255" y="144111"/>
                    <a:pt x="108730" y="138396"/>
                    <a:pt x="100157" y="126014"/>
                  </a:cubicBezTo>
                  <a:cubicBezTo>
                    <a:pt x="78250" y="93629"/>
                    <a:pt x="64915" y="59339"/>
                    <a:pt x="47770" y="23144"/>
                  </a:cubicBezTo>
                  <a:cubicBezTo>
                    <a:pt x="44912" y="17429"/>
                    <a:pt x="42055" y="10761"/>
                    <a:pt x="36340" y="5999"/>
                  </a:cubicBezTo>
                  <a:cubicBezTo>
                    <a:pt x="30625" y="1236"/>
                    <a:pt x="21100" y="-2574"/>
                    <a:pt x="9670" y="2189"/>
                  </a:cubicBezTo>
                  <a:cubicBezTo>
                    <a:pt x="3002" y="5046"/>
                    <a:pt x="-808" y="12666"/>
                    <a:pt x="145" y="20286"/>
                  </a:cubicBezTo>
                  <a:cubicBezTo>
                    <a:pt x="1097" y="27906"/>
                    <a:pt x="3002" y="34574"/>
                    <a:pt x="5860" y="41241"/>
                  </a:cubicBezTo>
                  <a:cubicBezTo>
                    <a:pt x="26815" y="90771"/>
                    <a:pt x="42055" y="143159"/>
                    <a:pt x="51580" y="196499"/>
                  </a:cubicBezTo>
                  <a:cubicBezTo>
                    <a:pt x="60152" y="246029"/>
                    <a:pt x="62057" y="297464"/>
                    <a:pt x="65867" y="347946"/>
                  </a:cubicBezTo>
                  <a:lnTo>
                    <a:pt x="65867" y="347946"/>
                  </a:lnTo>
                  <a:close/>
                </a:path>
              </a:pathLst>
            </a:custGeom>
            <a:solidFill>
              <a:srgbClr val="FFDCA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6" name="Freeform: Shape 40">
              <a:extLst>
                <a:ext uri="{FF2B5EF4-FFF2-40B4-BE49-F238E27FC236}">
                  <a16:creationId xmlns:a16="http://schemas.microsoft.com/office/drawing/2014/main" id="{36343F20-35D8-1DCE-86FA-6840834E9662}"/>
                </a:ext>
              </a:extLst>
            </p:cNvPr>
            <p:cNvSpPr/>
            <p:nvPr/>
          </p:nvSpPr>
          <p:spPr>
            <a:xfrm>
              <a:off x="2092987" y="2660852"/>
              <a:ext cx="248330" cy="361116"/>
            </a:xfrm>
            <a:custGeom>
              <a:avLst/>
              <a:gdLst>
                <a:gd name="connsiteX0" fmla="*/ 256222 w 416558"/>
                <a:gd name="connsiteY0" fmla="*/ 7580 h 605749"/>
                <a:gd name="connsiteX1" fmla="*/ 416242 w 416558"/>
                <a:gd name="connsiteY1" fmla="*/ 252372 h 605749"/>
                <a:gd name="connsiteX2" fmla="*/ 414338 w 416558"/>
                <a:gd name="connsiteY2" fmla="*/ 532407 h 605749"/>
                <a:gd name="connsiteX3" fmla="*/ 0 w 416558"/>
                <a:gd name="connsiteY3" fmla="*/ 605750 h 605749"/>
                <a:gd name="connsiteX4" fmla="*/ 32385 w 416558"/>
                <a:gd name="connsiteY4" fmla="*/ 250467 h 605749"/>
                <a:gd name="connsiteX5" fmla="*/ 256222 w 416558"/>
                <a:gd name="connsiteY5" fmla="*/ 7580 h 605749"/>
                <a:gd name="connsiteX6" fmla="*/ 256222 w 416558"/>
                <a:gd name="connsiteY6" fmla="*/ 7580 h 605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558" h="605749">
                  <a:moveTo>
                    <a:pt x="256222" y="7580"/>
                  </a:moveTo>
                  <a:cubicBezTo>
                    <a:pt x="256222" y="7580"/>
                    <a:pt x="424815" y="27582"/>
                    <a:pt x="416242" y="252372"/>
                  </a:cubicBezTo>
                  <a:lnTo>
                    <a:pt x="414338" y="532407"/>
                  </a:lnTo>
                  <a:lnTo>
                    <a:pt x="0" y="605750"/>
                  </a:lnTo>
                  <a:cubicBezTo>
                    <a:pt x="0" y="605750"/>
                    <a:pt x="20955" y="302855"/>
                    <a:pt x="32385" y="250467"/>
                  </a:cubicBezTo>
                  <a:cubicBezTo>
                    <a:pt x="43815" y="198080"/>
                    <a:pt x="69532" y="-45760"/>
                    <a:pt x="256222" y="7580"/>
                  </a:cubicBezTo>
                  <a:lnTo>
                    <a:pt x="256222" y="7580"/>
                  </a:ln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7" name="Freeform: Shape 41">
              <a:extLst>
                <a:ext uri="{FF2B5EF4-FFF2-40B4-BE49-F238E27FC236}">
                  <a16:creationId xmlns:a16="http://schemas.microsoft.com/office/drawing/2014/main" id="{E06185E5-60DC-A0CF-CF74-7E1A92AA5EC5}"/>
                </a:ext>
              </a:extLst>
            </p:cNvPr>
            <p:cNvSpPr/>
            <p:nvPr/>
          </p:nvSpPr>
          <p:spPr>
            <a:xfrm>
              <a:off x="1955572" y="2447304"/>
              <a:ext cx="694510" cy="829052"/>
            </a:xfrm>
            <a:custGeom>
              <a:avLst/>
              <a:gdLst>
                <a:gd name="connsiteX0" fmla="*/ 1164908 w 1164996"/>
                <a:gd name="connsiteY0" fmla="*/ 191485 h 1390682"/>
                <a:gd name="connsiteX1" fmla="*/ 1150620 w 1164996"/>
                <a:gd name="connsiteY1" fmla="*/ 6700 h 1390682"/>
                <a:gd name="connsiteX2" fmla="*/ 944880 w 1164996"/>
                <a:gd name="connsiteY2" fmla="*/ 11463 h 1390682"/>
                <a:gd name="connsiteX3" fmla="*/ 937260 w 1164996"/>
                <a:gd name="connsiteY3" fmla="*/ 88616 h 1390682"/>
                <a:gd name="connsiteX4" fmla="*/ 932497 w 1164996"/>
                <a:gd name="connsiteY4" fmla="*/ 196248 h 1390682"/>
                <a:gd name="connsiteX5" fmla="*/ 901065 w 1164996"/>
                <a:gd name="connsiteY5" fmla="*/ 408656 h 1390682"/>
                <a:gd name="connsiteX6" fmla="*/ 607695 w 1164996"/>
                <a:gd name="connsiteY6" fmla="*/ 819183 h 1390682"/>
                <a:gd name="connsiteX7" fmla="*/ 580072 w 1164996"/>
                <a:gd name="connsiteY7" fmla="*/ 813468 h 1390682"/>
                <a:gd name="connsiteX8" fmla="*/ 398145 w 1164996"/>
                <a:gd name="connsiteY8" fmla="*/ 820136 h 1390682"/>
                <a:gd name="connsiteX9" fmla="*/ 194310 w 1164996"/>
                <a:gd name="connsiteY9" fmla="*/ 890621 h 1390682"/>
                <a:gd name="connsiteX10" fmla="*/ 0 w 1164996"/>
                <a:gd name="connsiteY10" fmla="*/ 1048736 h 1390682"/>
                <a:gd name="connsiteX11" fmla="*/ 0 w 1164996"/>
                <a:gd name="connsiteY11" fmla="*/ 1277336 h 1390682"/>
                <a:gd name="connsiteX12" fmla="*/ 113347 w 1164996"/>
                <a:gd name="connsiteY12" fmla="*/ 1390683 h 1390682"/>
                <a:gd name="connsiteX13" fmla="*/ 122872 w 1164996"/>
                <a:gd name="connsiteY13" fmla="*/ 1390683 h 1390682"/>
                <a:gd name="connsiteX14" fmla="*/ 172403 w 1164996"/>
                <a:gd name="connsiteY14" fmla="*/ 1319246 h 1390682"/>
                <a:gd name="connsiteX15" fmla="*/ 180022 w 1164996"/>
                <a:gd name="connsiteY15" fmla="*/ 1340201 h 1390682"/>
                <a:gd name="connsiteX16" fmla="*/ 195263 w 1164996"/>
                <a:gd name="connsiteY16" fmla="*/ 1390683 h 1390682"/>
                <a:gd name="connsiteX17" fmla="*/ 839153 w 1164996"/>
                <a:gd name="connsiteY17" fmla="*/ 1390683 h 1390682"/>
                <a:gd name="connsiteX18" fmla="*/ 838200 w 1164996"/>
                <a:gd name="connsiteY18" fmla="*/ 1366871 h 1390682"/>
                <a:gd name="connsiteX19" fmla="*/ 832485 w 1164996"/>
                <a:gd name="connsiteY19" fmla="*/ 1205898 h 1390682"/>
                <a:gd name="connsiteX20" fmla="*/ 826770 w 1164996"/>
                <a:gd name="connsiteY20" fmla="*/ 1148748 h 1390682"/>
                <a:gd name="connsiteX21" fmla="*/ 1013460 w 1164996"/>
                <a:gd name="connsiteY21" fmla="*/ 826803 h 1390682"/>
                <a:gd name="connsiteX22" fmla="*/ 1144905 w 1164996"/>
                <a:gd name="connsiteY22" fmla="*/ 441993 h 1390682"/>
                <a:gd name="connsiteX23" fmla="*/ 1164908 w 1164996"/>
                <a:gd name="connsiteY23" fmla="*/ 191485 h 1390682"/>
                <a:gd name="connsiteX24" fmla="*/ 1164908 w 1164996"/>
                <a:gd name="connsiteY24" fmla="*/ 191485 h 139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64996" h="1390682">
                  <a:moveTo>
                    <a:pt x="1164908" y="191485"/>
                  </a:moveTo>
                  <a:cubicBezTo>
                    <a:pt x="1163955" y="149575"/>
                    <a:pt x="1160145" y="21941"/>
                    <a:pt x="1150620" y="6700"/>
                  </a:cubicBezTo>
                  <a:cubicBezTo>
                    <a:pt x="1143000" y="-5682"/>
                    <a:pt x="949643" y="985"/>
                    <a:pt x="944880" y="11463"/>
                  </a:cubicBezTo>
                  <a:cubicBezTo>
                    <a:pt x="936308" y="27655"/>
                    <a:pt x="937260" y="67660"/>
                    <a:pt x="937260" y="88616"/>
                  </a:cubicBezTo>
                  <a:cubicBezTo>
                    <a:pt x="936308" y="124810"/>
                    <a:pt x="935355" y="160053"/>
                    <a:pt x="932497" y="196248"/>
                  </a:cubicBezTo>
                  <a:cubicBezTo>
                    <a:pt x="927735" y="267685"/>
                    <a:pt x="918210" y="339123"/>
                    <a:pt x="901065" y="408656"/>
                  </a:cubicBezTo>
                  <a:cubicBezTo>
                    <a:pt x="860108" y="571533"/>
                    <a:pt x="746760" y="722980"/>
                    <a:pt x="607695" y="819183"/>
                  </a:cubicBezTo>
                  <a:cubicBezTo>
                    <a:pt x="598170" y="817278"/>
                    <a:pt x="588645" y="815373"/>
                    <a:pt x="580072" y="813468"/>
                  </a:cubicBezTo>
                  <a:cubicBezTo>
                    <a:pt x="520065" y="804896"/>
                    <a:pt x="458153" y="808705"/>
                    <a:pt x="398145" y="820136"/>
                  </a:cubicBezTo>
                  <a:cubicBezTo>
                    <a:pt x="319088" y="836328"/>
                    <a:pt x="247650" y="858236"/>
                    <a:pt x="194310" y="890621"/>
                  </a:cubicBezTo>
                  <a:cubicBezTo>
                    <a:pt x="120015" y="931578"/>
                    <a:pt x="56197" y="985871"/>
                    <a:pt x="0" y="1048736"/>
                  </a:cubicBezTo>
                  <a:lnTo>
                    <a:pt x="0" y="1277336"/>
                  </a:lnTo>
                  <a:cubicBezTo>
                    <a:pt x="0" y="1339248"/>
                    <a:pt x="50483" y="1390683"/>
                    <a:pt x="113347" y="1390683"/>
                  </a:cubicBezTo>
                  <a:lnTo>
                    <a:pt x="122872" y="1390683"/>
                  </a:lnTo>
                  <a:cubicBezTo>
                    <a:pt x="138113" y="1366871"/>
                    <a:pt x="154305" y="1343058"/>
                    <a:pt x="172403" y="1319246"/>
                  </a:cubicBezTo>
                  <a:cubicBezTo>
                    <a:pt x="175260" y="1325913"/>
                    <a:pt x="177165" y="1333533"/>
                    <a:pt x="180022" y="1340201"/>
                  </a:cubicBezTo>
                  <a:cubicBezTo>
                    <a:pt x="184785" y="1355441"/>
                    <a:pt x="190500" y="1372586"/>
                    <a:pt x="195263" y="1390683"/>
                  </a:cubicBezTo>
                  <a:lnTo>
                    <a:pt x="839153" y="1390683"/>
                  </a:lnTo>
                  <a:cubicBezTo>
                    <a:pt x="838200" y="1383063"/>
                    <a:pt x="838200" y="1375443"/>
                    <a:pt x="838200" y="1366871"/>
                  </a:cubicBezTo>
                  <a:cubicBezTo>
                    <a:pt x="837247" y="1320198"/>
                    <a:pt x="836295" y="1252571"/>
                    <a:pt x="832485" y="1205898"/>
                  </a:cubicBezTo>
                  <a:cubicBezTo>
                    <a:pt x="830580" y="1185896"/>
                    <a:pt x="828675" y="1167798"/>
                    <a:pt x="826770" y="1148748"/>
                  </a:cubicBezTo>
                  <a:cubicBezTo>
                    <a:pt x="882968" y="1039211"/>
                    <a:pt x="956310" y="936341"/>
                    <a:pt x="1013460" y="826803"/>
                  </a:cubicBezTo>
                  <a:cubicBezTo>
                    <a:pt x="1076325" y="706788"/>
                    <a:pt x="1121093" y="576296"/>
                    <a:pt x="1144905" y="441993"/>
                  </a:cubicBezTo>
                  <a:cubicBezTo>
                    <a:pt x="1159193" y="361031"/>
                    <a:pt x="1165860" y="276258"/>
                    <a:pt x="1164908" y="191485"/>
                  </a:cubicBezTo>
                  <a:lnTo>
                    <a:pt x="1164908" y="191485"/>
                  </a:ln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8" name="Freeform: Shape 42">
              <a:extLst>
                <a:ext uri="{FF2B5EF4-FFF2-40B4-BE49-F238E27FC236}">
                  <a16:creationId xmlns:a16="http://schemas.microsoft.com/office/drawing/2014/main" id="{B88B25C1-4E11-0847-B7E0-32B97F7D4C1C}"/>
                </a:ext>
              </a:extLst>
            </p:cNvPr>
            <p:cNvSpPr/>
            <p:nvPr/>
          </p:nvSpPr>
          <p:spPr>
            <a:xfrm>
              <a:off x="2159754" y="2707151"/>
              <a:ext cx="151280" cy="311251"/>
            </a:xfrm>
            <a:custGeom>
              <a:avLst/>
              <a:gdLst>
                <a:gd name="connsiteX0" fmla="*/ 253763 w 253763"/>
                <a:gd name="connsiteY0" fmla="*/ 157563 h 522103"/>
                <a:gd name="connsiteX1" fmla="*/ 202328 w 253763"/>
                <a:gd name="connsiteY1" fmla="*/ 29928 h 522103"/>
                <a:gd name="connsiteX2" fmla="*/ 48976 w 253763"/>
                <a:gd name="connsiteY2" fmla="*/ 21356 h 522103"/>
                <a:gd name="connsiteX3" fmla="*/ 1351 w 253763"/>
                <a:gd name="connsiteY3" fmla="*/ 101366 h 522103"/>
                <a:gd name="connsiteX4" fmla="*/ 24211 w 253763"/>
                <a:gd name="connsiteY4" fmla="*/ 213761 h 522103"/>
                <a:gd name="connsiteX5" fmla="*/ 41356 w 253763"/>
                <a:gd name="connsiteY5" fmla="*/ 344253 h 522103"/>
                <a:gd name="connsiteX6" fmla="*/ 41356 w 253763"/>
                <a:gd name="connsiteY6" fmla="*/ 397593 h 522103"/>
                <a:gd name="connsiteX7" fmla="*/ 43261 w 253763"/>
                <a:gd name="connsiteY7" fmla="*/ 408071 h 522103"/>
                <a:gd name="connsiteX8" fmla="*/ 78503 w 253763"/>
                <a:gd name="connsiteY8" fmla="*/ 461411 h 522103"/>
                <a:gd name="connsiteX9" fmla="*/ 157561 w 253763"/>
                <a:gd name="connsiteY9" fmla="*/ 518561 h 522103"/>
                <a:gd name="connsiteX10" fmla="*/ 190898 w 253763"/>
                <a:gd name="connsiteY10" fmla="*/ 510941 h 522103"/>
                <a:gd name="connsiteX11" fmla="*/ 189945 w 253763"/>
                <a:gd name="connsiteY11" fmla="*/ 361398 h 522103"/>
                <a:gd name="connsiteX12" fmla="*/ 191851 w 253763"/>
                <a:gd name="connsiteY12" fmla="*/ 292818 h 522103"/>
                <a:gd name="connsiteX13" fmla="*/ 253763 w 253763"/>
                <a:gd name="connsiteY13" fmla="*/ 157563 h 522103"/>
                <a:gd name="connsiteX14" fmla="*/ 253763 w 253763"/>
                <a:gd name="connsiteY14" fmla="*/ 157563 h 522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3763" h="522103">
                  <a:moveTo>
                    <a:pt x="253763" y="157563"/>
                  </a:moveTo>
                  <a:cubicBezTo>
                    <a:pt x="250906" y="97556"/>
                    <a:pt x="239476" y="60408"/>
                    <a:pt x="202328" y="29928"/>
                  </a:cubicBezTo>
                  <a:cubicBezTo>
                    <a:pt x="160418" y="-5314"/>
                    <a:pt x="94695" y="-11029"/>
                    <a:pt x="48976" y="21356"/>
                  </a:cubicBezTo>
                  <a:cubicBezTo>
                    <a:pt x="23258" y="40406"/>
                    <a:pt x="5161" y="69933"/>
                    <a:pt x="1351" y="101366"/>
                  </a:cubicBezTo>
                  <a:cubicBezTo>
                    <a:pt x="-4364" y="147086"/>
                    <a:pt x="8970" y="172803"/>
                    <a:pt x="24211" y="213761"/>
                  </a:cubicBezTo>
                  <a:cubicBezTo>
                    <a:pt x="40403" y="257576"/>
                    <a:pt x="40403" y="269006"/>
                    <a:pt x="41356" y="344253"/>
                  </a:cubicBezTo>
                  <a:cubicBezTo>
                    <a:pt x="41356" y="362351"/>
                    <a:pt x="41356" y="387116"/>
                    <a:pt x="41356" y="397593"/>
                  </a:cubicBezTo>
                  <a:cubicBezTo>
                    <a:pt x="41356" y="401403"/>
                    <a:pt x="42308" y="404261"/>
                    <a:pt x="43261" y="408071"/>
                  </a:cubicBezTo>
                  <a:cubicBezTo>
                    <a:pt x="48023" y="417596"/>
                    <a:pt x="60406" y="440456"/>
                    <a:pt x="78503" y="461411"/>
                  </a:cubicBezTo>
                  <a:cubicBezTo>
                    <a:pt x="100411" y="485223"/>
                    <a:pt x="126128" y="508083"/>
                    <a:pt x="157561" y="518561"/>
                  </a:cubicBezTo>
                  <a:cubicBezTo>
                    <a:pt x="177563" y="525228"/>
                    <a:pt x="189945" y="522371"/>
                    <a:pt x="190898" y="510941"/>
                  </a:cubicBezTo>
                  <a:cubicBezTo>
                    <a:pt x="192803" y="460458"/>
                    <a:pt x="190898" y="408071"/>
                    <a:pt x="189945" y="361398"/>
                  </a:cubicBezTo>
                  <a:cubicBezTo>
                    <a:pt x="189945" y="335681"/>
                    <a:pt x="189945" y="330918"/>
                    <a:pt x="191851" y="292818"/>
                  </a:cubicBezTo>
                  <a:cubicBezTo>
                    <a:pt x="232808" y="267101"/>
                    <a:pt x="252811" y="203283"/>
                    <a:pt x="253763" y="157563"/>
                  </a:cubicBezTo>
                  <a:lnTo>
                    <a:pt x="253763" y="157563"/>
                  </a:lnTo>
                  <a:close/>
                </a:path>
              </a:pathLst>
            </a:custGeom>
            <a:solidFill>
              <a:srgbClr val="FFDCA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9" name="Freeform: Shape 43">
              <a:extLst>
                <a:ext uri="{FF2B5EF4-FFF2-40B4-BE49-F238E27FC236}">
                  <a16:creationId xmlns:a16="http://schemas.microsoft.com/office/drawing/2014/main" id="{D0A81FDB-027A-9384-B655-3D69DC1B8A76}"/>
                </a:ext>
              </a:extLst>
            </p:cNvPr>
            <p:cNvSpPr/>
            <p:nvPr/>
          </p:nvSpPr>
          <p:spPr>
            <a:xfrm>
              <a:off x="2142485" y="2691875"/>
              <a:ext cx="129967" cy="152740"/>
            </a:xfrm>
            <a:custGeom>
              <a:avLst/>
              <a:gdLst>
                <a:gd name="connsiteX0" fmla="*/ 217960 w 218012"/>
                <a:gd name="connsiteY0" fmla="*/ 34598 h 256211"/>
                <a:gd name="connsiteX1" fmla="*/ 200815 w 218012"/>
                <a:gd name="connsiteY1" fmla="*/ 96511 h 256211"/>
                <a:gd name="connsiteX2" fmla="*/ 163668 w 218012"/>
                <a:gd name="connsiteY2" fmla="*/ 142231 h 256211"/>
                <a:gd name="connsiteX3" fmla="*/ 112233 w 218012"/>
                <a:gd name="connsiteY3" fmla="*/ 151756 h 256211"/>
                <a:gd name="connsiteX4" fmla="*/ 88420 w 218012"/>
                <a:gd name="connsiteY4" fmla="*/ 147946 h 256211"/>
                <a:gd name="connsiteX5" fmla="*/ 48415 w 218012"/>
                <a:gd name="connsiteY5" fmla="*/ 181283 h 256211"/>
                <a:gd name="connsiteX6" fmla="*/ 57940 w 218012"/>
                <a:gd name="connsiteY6" fmla="*/ 250816 h 256211"/>
                <a:gd name="connsiteX7" fmla="*/ 790 w 218012"/>
                <a:gd name="connsiteY7" fmla="*/ 115561 h 256211"/>
                <a:gd name="connsiteX8" fmla="*/ 103660 w 218012"/>
                <a:gd name="connsiteY8" fmla="*/ 1261 h 256211"/>
                <a:gd name="connsiteX9" fmla="*/ 211293 w 218012"/>
                <a:gd name="connsiteY9" fmla="*/ 16501 h 256211"/>
                <a:gd name="connsiteX10" fmla="*/ 217960 w 218012"/>
                <a:gd name="connsiteY10" fmla="*/ 34598 h 256211"/>
                <a:gd name="connsiteX11" fmla="*/ 217960 w 218012"/>
                <a:gd name="connsiteY11" fmla="*/ 34598 h 256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012" h="256211">
                  <a:moveTo>
                    <a:pt x="217960" y="34598"/>
                  </a:moveTo>
                  <a:cubicBezTo>
                    <a:pt x="218912" y="54601"/>
                    <a:pt x="206530" y="83176"/>
                    <a:pt x="200815" y="96511"/>
                  </a:cubicBezTo>
                  <a:cubicBezTo>
                    <a:pt x="193195" y="114608"/>
                    <a:pt x="180812" y="131753"/>
                    <a:pt x="163668" y="142231"/>
                  </a:cubicBezTo>
                  <a:cubicBezTo>
                    <a:pt x="149380" y="151756"/>
                    <a:pt x="129378" y="154613"/>
                    <a:pt x="112233" y="151756"/>
                  </a:cubicBezTo>
                  <a:cubicBezTo>
                    <a:pt x="103660" y="150803"/>
                    <a:pt x="96040" y="147946"/>
                    <a:pt x="88420" y="147946"/>
                  </a:cubicBezTo>
                  <a:cubicBezTo>
                    <a:pt x="58893" y="146993"/>
                    <a:pt x="50320" y="173663"/>
                    <a:pt x="48415" y="181283"/>
                  </a:cubicBezTo>
                  <a:cubicBezTo>
                    <a:pt x="43653" y="197476"/>
                    <a:pt x="48415" y="224146"/>
                    <a:pt x="57940" y="250816"/>
                  </a:cubicBezTo>
                  <a:cubicBezTo>
                    <a:pt x="71275" y="284153"/>
                    <a:pt x="-8735" y="153661"/>
                    <a:pt x="790" y="115561"/>
                  </a:cubicBezTo>
                  <a:cubicBezTo>
                    <a:pt x="13173" y="63173"/>
                    <a:pt x="50320" y="12691"/>
                    <a:pt x="103660" y="1261"/>
                  </a:cubicBezTo>
                  <a:cubicBezTo>
                    <a:pt x="132235" y="-4454"/>
                    <a:pt x="204625" y="10786"/>
                    <a:pt x="211293" y="16501"/>
                  </a:cubicBezTo>
                  <a:cubicBezTo>
                    <a:pt x="215103" y="21263"/>
                    <a:pt x="217960" y="26978"/>
                    <a:pt x="217960" y="34598"/>
                  </a:cubicBezTo>
                  <a:lnTo>
                    <a:pt x="217960" y="34598"/>
                  </a:ln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0" name="Freeform: Shape 44">
              <a:extLst>
                <a:ext uri="{FF2B5EF4-FFF2-40B4-BE49-F238E27FC236}">
                  <a16:creationId xmlns:a16="http://schemas.microsoft.com/office/drawing/2014/main" id="{466515D5-4E10-FFBF-9CF2-5A7452A84ECC}"/>
                </a:ext>
              </a:extLst>
            </p:cNvPr>
            <p:cNvSpPr/>
            <p:nvPr/>
          </p:nvSpPr>
          <p:spPr>
            <a:xfrm>
              <a:off x="2060368" y="3142526"/>
              <a:ext cx="78311" cy="82726"/>
            </a:xfrm>
            <a:custGeom>
              <a:avLst/>
              <a:gdLst>
                <a:gd name="connsiteX0" fmla="*/ 115676 w 131361"/>
                <a:gd name="connsiteY0" fmla="*/ 1607 h 138767"/>
                <a:gd name="connsiteX1" fmla="*/ 1376 w 131361"/>
                <a:gd name="connsiteY1" fmla="*/ 123527 h 138767"/>
                <a:gd name="connsiteX2" fmla="*/ 4233 w 131361"/>
                <a:gd name="connsiteY2" fmla="*/ 136862 h 138767"/>
                <a:gd name="connsiteX3" fmla="*/ 8996 w 131361"/>
                <a:gd name="connsiteY3" fmla="*/ 138767 h 138767"/>
                <a:gd name="connsiteX4" fmla="*/ 17568 w 131361"/>
                <a:gd name="connsiteY4" fmla="*/ 134005 h 138767"/>
                <a:gd name="connsiteX5" fmla="*/ 127106 w 131361"/>
                <a:gd name="connsiteY5" fmla="*/ 17800 h 138767"/>
                <a:gd name="connsiteX6" fmla="*/ 129011 w 131361"/>
                <a:gd name="connsiteY6" fmla="*/ 4465 h 138767"/>
                <a:gd name="connsiteX7" fmla="*/ 115676 w 131361"/>
                <a:gd name="connsiteY7" fmla="*/ 1607 h 138767"/>
                <a:gd name="connsiteX8" fmla="*/ 115676 w 131361"/>
                <a:gd name="connsiteY8" fmla="*/ 1607 h 138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361" h="138767">
                  <a:moveTo>
                    <a:pt x="115676" y="1607"/>
                  </a:moveTo>
                  <a:cubicBezTo>
                    <a:pt x="69956" y="33992"/>
                    <a:pt x="29951" y="75902"/>
                    <a:pt x="1376" y="123527"/>
                  </a:cubicBezTo>
                  <a:cubicBezTo>
                    <a:pt x="-1482" y="128290"/>
                    <a:pt x="423" y="134005"/>
                    <a:pt x="4233" y="136862"/>
                  </a:cubicBezTo>
                  <a:cubicBezTo>
                    <a:pt x="6138" y="137815"/>
                    <a:pt x="7091" y="138767"/>
                    <a:pt x="8996" y="138767"/>
                  </a:cubicBezTo>
                  <a:cubicBezTo>
                    <a:pt x="11853" y="138767"/>
                    <a:pt x="15663" y="136862"/>
                    <a:pt x="17568" y="134005"/>
                  </a:cubicBezTo>
                  <a:cubicBezTo>
                    <a:pt x="45191" y="88285"/>
                    <a:pt x="83291" y="48280"/>
                    <a:pt x="127106" y="17800"/>
                  </a:cubicBezTo>
                  <a:cubicBezTo>
                    <a:pt x="131868" y="14942"/>
                    <a:pt x="132821" y="9227"/>
                    <a:pt x="129011" y="4465"/>
                  </a:cubicBezTo>
                  <a:cubicBezTo>
                    <a:pt x="125201" y="-298"/>
                    <a:pt x="119486" y="-1250"/>
                    <a:pt x="115676" y="1607"/>
                  </a:cubicBezTo>
                  <a:lnTo>
                    <a:pt x="115676" y="1607"/>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1" name="Freeform: Shape 45">
              <a:extLst>
                <a:ext uri="{FF2B5EF4-FFF2-40B4-BE49-F238E27FC236}">
                  <a16:creationId xmlns:a16="http://schemas.microsoft.com/office/drawing/2014/main" id="{B4D07A01-1F7C-9ECB-962D-D5165FF45CD8}"/>
                </a:ext>
              </a:extLst>
            </p:cNvPr>
            <p:cNvSpPr/>
            <p:nvPr/>
          </p:nvSpPr>
          <p:spPr>
            <a:xfrm>
              <a:off x="2379174" y="2979381"/>
              <a:ext cx="63896" cy="108455"/>
            </a:xfrm>
            <a:custGeom>
              <a:avLst/>
              <a:gdLst>
                <a:gd name="connsiteX0" fmla="*/ 106680 w 107181"/>
                <a:gd name="connsiteY0" fmla="*/ 169545 h 181927"/>
                <a:gd name="connsiteX1" fmla="*/ 16193 w 107181"/>
                <a:gd name="connsiteY1" fmla="*/ 2857 h 181927"/>
                <a:gd name="connsiteX2" fmla="*/ 2857 w 107181"/>
                <a:gd name="connsiteY2" fmla="*/ 2857 h 181927"/>
                <a:gd name="connsiteX3" fmla="*/ 2857 w 107181"/>
                <a:gd name="connsiteY3" fmla="*/ 16192 h 181927"/>
                <a:gd name="connsiteX4" fmla="*/ 88582 w 107181"/>
                <a:gd name="connsiteY4" fmla="*/ 174307 h 181927"/>
                <a:gd name="connsiteX5" fmla="*/ 98107 w 107181"/>
                <a:gd name="connsiteY5" fmla="*/ 181927 h 181927"/>
                <a:gd name="connsiteX6" fmla="*/ 100013 w 107181"/>
                <a:gd name="connsiteY6" fmla="*/ 181927 h 181927"/>
                <a:gd name="connsiteX7" fmla="*/ 106680 w 107181"/>
                <a:gd name="connsiteY7" fmla="*/ 169545 h 181927"/>
                <a:gd name="connsiteX8" fmla="*/ 106680 w 107181"/>
                <a:gd name="connsiteY8" fmla="*/ 169545 h 181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181" h="181927">
                  <a:moveTo>
                    <a:pt x="106680" y="169545"/>
                  </a:moveTo>
                  <a:cubicBezTo>
                    <a:pt x="91440" y="101917"/>
                    <a:pt x="65723" y="53340"/>
                    <a:pt x="16193" y="2857"/>
                  </a:cubicBezTo>
                  <a:cubicBezTo>
                    <a:pt x="12382" y="-952"/>
                    <a:pt x="6668" y="-952"/>
                    <a:pt x="2857" y="2857"/>
                  </a:cubicBezTo>
                  <a:cubicBezTo>
                    <a:pt x="-952" y="6667"/>
                    <a:pt x="-952" y="12382"/>
                    <a:pt x="2857" y="16192"/>
                  </a:cubicBezTo>
                  <a:cubicBezTo>
                    <a:pt x="49530" y="65723"/>
                    <a:pt x="73343" y="109537"/>
                    <a:pt x="88582" y="174307"/>
                  </a:cubicBezTo>
                  <a:cubicBezTo>
                    <a:pt x="89535" y="179070"/>
                    <a:pt x="93345" y="181927"/>
                    <a:pt x="98107" y="181927"/>
                  </a:cubicBezTo>
                  <a:cubicBezTo>
                    <a:pt x="99060" y="181927"/>
                    <a:pt x="99060" y="181927"/>
                    <a:pt x="100013" y="181927"/>
                  </a:cubicBezTo>
                  <a:cubicBezTo>
                    <a:pt x="104775" y="180023"/>
                    <a:pt x="108585" y="174307"/>
                    <a:pt x="106680" y="169545"/>
                  </a:cubicBezTo>
                  <a:lnTo>
                    <a:pt x="106680" y="16954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2" name="Freeform: Shape 46">
              <a:extLst>
                <a:ext uri="{FF2B5EF4-FFF2-40B4-BE49-F238E27FC236}">
                  <a16:creationId xmlns:a16="http://schemas.microsoft.com/office/drawing/2014/main" id="{71E65911-7EEB-C9C9-94E8-73EE2898A298}"/>
                </a:ext>
              </a:extLst>
            </p:cNvPr>
            <p:cNvSpPr/>
            <p:nvPr/>
          </p:nvSpPr>
          <p:spPr>
            <a:xfrm>
              <a:off x="1981124" y="2204292"/>
              <a:ext cx="336723" cy="332323"/>
            </a:xfrm>
            <a:custGeom>
              <a:avLst/>
              <a:gdLst>
                <a:gd name="connsiteX0" fmla="*/ 282893 w 564832"/>
                <a:gd name="connsiteY0" fmla="*/ 0 h 557450"/>
                <a:gd name="connsiteX1" fmla="*/ 0 w 564832"/>
                <a:gd name="connsiteY1" fmla="*/ 217170 h 557450"/>
                <a:gd name="connsiteX2" fmla="*/ 110490 w 564832"/>
                <a:gd name="connsiteY2" fmla="*/ 390525 h 557450"/>
                <a:gd name="connsiteX3" fmla="*/ 226695 w 564832"/>
                <a:gd name="connsiteY3" fmla="*/ 431483 h 557450"/>
                <a:gd name="connsiteX4" fmla="*/ 341947 w 564832"/>
                <a:gd name="connsiteY4" fmla="*/ 456247 h 557450"/>
                <a:gd name="connsiteX5" fmla="*/ 395288 w 564832"/>
                <a:gd name="connsiteY5" fmla="*/ 552450 h 557450"/>
                <a:gd name="connsiteX6" fmla="*/ 408622 w 564832"/>
                <a:gd name="connsiteY6" fmla="*/ 552450 h 557450"/>
                <a:gd name="connsiteX7" fmla="*/ 488633 w 564832"/>
                <a:gd name="connsiteY7" fmla="*/ 366712 h 557450"/>
                <a:gd name="connsiteX8" fmla="*/ 564833 w 564832"/>
                <a:gd name="connsiteY8" fmla="*/ 218122 h 557450"/>
                <a:gd name="connsiteX9" fmla="*/ 282893 w 564832"/>
                <a:gd name="connsiteY9" fmla="*/ 0 h 557450"/>
                <a:gd name="connsiteX10" fmla="*/ 282893 w 564832"/>
                <a:gd name="connsiteY10" fmla="*/ 0 h 55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4832" h="557450">
                  <a:moveTo>
                    <a:pt x="282893" y="0"/>
                  </a:moveTo>
                  <a:cubicBezTo>
                    <a:pt x="126683" y="0"/>
                    <a:pt x="0" y="97155"/>
                    <a:pt x="0" y="217170"/>
                  </a:cubicBezTo>
                  <a:cubicBezTo>
                    <a:pt x="0" y="291465"/>
                    <a:pt x="49530" y="353378"/>
                    <a:pt x="110490" y="390525"/>
                  </a:cubicBezTo>
                  <a:cubicBezTo>
                    <a:pt x="146685" y="411480"/>
                    <a:pt x="185738" y="423862"/>
                    <a:pt x="226695" y="431483"/>
                  </a:cubicBezTo>
                  <a:cubicBezTo>
                    <a:pt x="265747" y="439103"/>
                    <a:pt x="305753" y="434340"/>
                    <a:pt x="341947" y="456247"/>
                  </a:cubicBezTo>
                  <a:cubicBezTo>
                    <a:pt x="365760" y="470535"/>
                    <a:pt x="384810" y="516255"/>
                    <a:pt x="395288" y="552450"/>
                  </a:cubicBezTo>
                  <a:cubicBezTo>
                    <a:pt x="397193" y="559118"/>
                    <a:pt x="406718" y="559118"/>
                    <a:pt x="408622" y="552450"/>
                  </a:cubicBezTo>
                  <a:cubicBezTo>
                    <a:pt x="422910" y="489585"/>
                    <a:pt x="449580" y="407670"/>
                    <a:pt x="488633" y="366712"/>
                  </a:cubicBezTo>
                  <a:cubicBezTo>
                    <a:pt x="530543" y="322897"/>
                    <a:pt x="564833" y="281940"/>
                    <a:pt x="564833" y="218122"/>
                  </a:cubicBezTo>
                  <a:cubicBezTo>
                    <a:pt x="564833" y="97155"/>
                    <a:pt x="439103" y="0"/>
                    <a:pt x="282893" y="0"/>
                  </a:cubicBezTo>
                  <a:lnTo>
                    <a:pt x="282893" y="0"/>
                  </a:lnTo>
                  <a:close/>
                </a:path>
              </a:pathLst>
            </a:custGeom>
            <a:solidFill>
              <a:srgbClr val="051C2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3" name="Freeform: Shape 47">
              <a:extLst>
                <a:ext uri="{FF2B5EF4-FFF2-40B4-BE49-F238E27FC236}">
                  <a16:creationId xmlns:a16="http://schemas.microsoft.com/office/drawing/2014/main" id="{FB6013C4-2773-0E50-FBBF-99A36BAB2345}"/>
                </a:ext>
              </a:extLst>
            </p:cNvPr>
            <p:cNvSpPr/>
            <p:nvPr/>
          </p:nvSpPr>
          <p:spPr>
            <a:xfrm>
              <a:off x="2052103" y="2273567"/>
              <a:ext cx="205787" cy="87445"/>
            </a:xfrm>
            <a:custGeom>
              <a:avLst/>
              <a:gdLst>
                <a:gd name="connsiteX0" fmla="*/ 340043 w 345195"/>
                <a:gd name="connsiteY0" fmla="*/ 66675 h 146684"/>
                <a:gd name="connsiteX1" fmla="*/ 327660 w 345195"/>
                <a:gd name="connsiteY1" fmla="*/ 71438 h 146684"/>
                <a:gd name="connsiteX2" fmla="*/ 261938 w 345195"/>
                <a:gd name="connsiteY2" fmla="*/ 130492 h 146684"/>
                <a:gd name="connsiteX3" fmla="*/ 261938 w 345195"/>
                <a:gd name="connsiteY3" fmla="*/ 130492 h 146684"/>
                <a:gd name="connsiteX4" fmla="*/ 224790 w 345195"/>
                <a:gd name="connsiteY4" fmla="*/ 99060 h 146684"/>
                <a:gd name="connsiteX5" fmla="*/ 220980 w 345195"/>
                <a:gd name="connsiteY5" fmla="*/ 89535 h 146684"/>
                <a:gd name="connsiteX6" fmla="*/ 196215 w 345195"/>
                <a:gd name="connsiteY6" fmla="*/ 57150 h 146684"/>
                <a:gd name="connsiteX7" fmla="*/ 165735 w 345195"/>
                <a:gd name="connsiteY7" fmla="*/ 93345 h 146684"/>
                <a:gd name="connsiteX8" fmla="*/ 153353 w 345195"/>
                <a:gd name="connsiteY8" fmla="*/ 120015 h 146684"/>
                <a:gd name="connsiteX9" fmla="*/ 148590 w 345195"/>
                <a:gd name="connsiteY9" fmla="*/ 113347 h 146684"/>
                <a:gd name="connsiteX10" fmla="*/ 134303 w 345195"/>
                <a:gd name="connsiteY10" fmla="*/ 60960 h 146684"/>
                <a:gd name="connsiteX11" fmla="*/ 116205 w 345195"/>
                <a:gd name="connsiteY11" fmla="*/ 6667 h 146684"/>
                <a:gd name="connsiteX12" fmla="*/ 100965 w 345195"/>
                <a:gd name="connsiteY12" fmla="*/ 0 h 146684"/>
                <a:gd name="connsiteX13" fmla="*/ 84772 w 345195"/>
                <a:gd name="connsiteY13" fmla="*/ 6667 h 146684"/>
                <a:gd name="connsiteX14" fmla="*/ 66675 w 345195"/>
                <a:gd name="connsiteY14" fmla="*/ 46672 h 146684"/>
                <a:gd name="connsiteX15" fmla="*/ 62865 w 345195"/>
                <a:gd name="connsiteY15" fmla="*/ 60007 h 146684"/>
                <a:gd name="connsiteX16" fmla="*/ 36195 w 345195"/>
                <a:gd name="connsiteY16" fmla="*/ 121920 h 146684"/>
                <a:gd name="connsiteX17" fmla="*/ 33338 w 345195"/>
                <a:gd name="connsiteY17" fmla="*/ 120967 h 146684"/>
                <a:gd name="connsiteX18" fmla="*/ 19050 w 345195"/>
                <a:gd name="connsiteY18" fmla="*/ 82867 h 146684"/>
                <a:gd name="connsiteX19" fmla="*/ 9525 w 345195"/>
                <a:gd name="connsiteY19" fmla="*/ 73342 h 146684"/>
                <a:gd name="connsiteX20" fmla="*/ 0 w 345195"/>
                <a:gd name="connsiteY20" fmla="*/ 82867 h 146684"/>
                <a:gd name="connsiteX21" fmla="*/ 21908 w 345195"/>
                <a:gd name="connsiteY21" fmla="*/ 135255 h 146684"/>
                <a:gd name="connsiteX22" fmla="*/ 40958 w 345195"/>
                <a:gd name="connsiteY22" fmla="*/ 139065 h 146684"/>
                <a:gd name="connsiteX23" fmla="*/ 80963 w 345195"/>
                <a:gd name="connsiteY23" fmla="*/ 63817 h 146684"/>
                <a:gd name="connsiteX24" fmla="*/ 83820 w 345195"/>
                <a:gd name="connsiteY24" fmla="*/ 50482 h 146684"/>
                <a:gd name="connsiteX25" fmla="*/ 97155 w 345195"/>
                <a:gd name="connsiteY25" fmla="*/ 19050 h 146684"/>
                <a:gd name="connsiteX26" fmla="*/ 99060 w 345195"/>
                <a:gd name="connsiteY26" fmla="*/ 17145 h 146684"/>
                <a:gd name="connsiteX27" fmla="*/ 100013 w 345195"/>
                <a:gd name="connsiteY27" fmla="*/ 18097 h 146684"/>
                <a:gd name="connsiteX28" fmla="*/ 113347 w 345195"/>
                <a:gd name="connsiteY28" fmla="*/ 61913 h 146684"/>
                <a:gd name="connsiteX29" fmla="*/ 130493 w 345195"/>
                <a:gd name="connsiteY29" fmla="*/ 120015 h 146684"/>
                <a:gd name="connsiteX30" fmla="*/ 157163 w 345195"/>
                <a:gd name="connsiteY30" fmla="*/ 136208 h 146684"/>
                <a:gd name="connsiteX31" fmla="*/ 182880 w 345195"/>
                <a:gd name="connsiteY31" fmla="*/ 96202 h 146684"/>
                <a:gd name="connsiteX32" fmla="*/ 193358 w 345195"/>
                <a:gd name="connsiteY32" fmla="*/ 74295 h 146684"/>
                <a:gd name="connsiteX33" fmla="*/ 202883 w 345195"/>
                <a:gd name="connsiteY33" fmla="*/ 94297 h 146684"/>
                <a:gd name="connsiteX34" fmla="*/ 206693 w 345195"/>
                <a:gd name="connsiteY34" fmla="*/ 103822 h 146684"/>
                <a:gd name="connsiteX35" fmla="*/ 260985 w 345195"/>
                <a:gd name="connsiteY35" fmla="*/ 146685 h 146684"/>
                <a:gd name="connsiteX36" fmla="*/ 260985 w 345195"/>
                <a:gd name="connsiteY36" fmla="*/ 146685 h 146684"/>
                <a:gd name="connsiteX37" fmla="*/ 343853 w 345195"/>
                <a:gd name="connsiteY37" fmla="*/ 75247 h 146684"/>
                <a:gd name="connsiteX38" fmla="*/ 340043 w 345195"/>
                <a:gd name="connsiteY38" fmla="*/ 66675 h 146684"/>
                <a:gd name="connsiteX39" fmla="*/ 340043 w 345195"/>
                <a:gd name="connsiteY39" fmla="*/ 66675 h 146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45195" h="146684">
                  <a:moveTo>
                    <a:pt x="340043" y="66675"/>
                  </a:moveTo>
                  <a:cubicBezTo>
                    <a:pt x="335280" y="64770"/>
                    <a:pt x="329565" y="66675"/>
                    <a:pt x="327660" y="71438"/>
                  </a:cubicBezTo>
                  <a:cubicBezTo>
                    <a:pt x="313372" y="105727"/>
                    <a:pt x="285750" y="130492"/>
                    <a:pt x="261938" y="130492"/>
                  </a:cubicBezTo>
                  <a:lnTo>
                    <a:pt x="261938" y="130492"/>
                  </a:lnTo>
                  <a:cubicBezTo>
                    <a:pt x="242888" y="130492"/>
                    <a:pt x="231458" y="113347"/>
                    <a:pt x="224790" y="99060"/>
                  </a:cubicBezTo>
                  <a:cubicBezTo>
                    <a:pt x="223838" y="96202"/>
                    <a:pt x="221933" y="93345"/>
                    <a:pt x="220980" y="89535"/>
                  </a:cubicBezTo>
                  <a:cubicBezTo>
                    <a:pt x="215265" y="74295"/>
                    <a:pt x="208597" y="59055"/>
                    <a:pt x="196215" y="57150"/>
                  </a:cubicBezTo>
                  <a:cubicBezTo>
                    <a:pt x="178118" y="55245"/>
                    <a:pt x="169545" y="80963"/>
                    <a:pt x="165735" y="93345"/>
                  </a:cubicBezTo>
                  <a:cubicBezTo>
                    <a:pt x="163830" y="100965"/>
                    <a:pt x="158115" y="117157"/>
                    <a:pt x="153353" y="120015"/>
                  </a:cubicBezTo>
                  <a:cubicBezTo>
                    <a:pt x="152400" y="119063"/>
                    <a:pt x="150495" y="117157"/>
                    <a:pt x="148590" y="113347"/>
                  </a:cubicBezTo>
                  <a:cubicBezTo>
                    <a:pt x="140970" y="99060"/>
                    <a:pt x="137160" y="80010"/>
                    <a:pt x="134303" y="60960"/>
                  </a:cubicBezTo>
                  <a:cubicBezTo>
                    <a:pt x="130493" y="38100"/>
                    <a:pt x="126683" y="18097"/>
                    <a:pt x="116205" y="6667"/>
                  </a:cubicBezTo>
                  <a:cubicBezTo>
                    <a:pt x="111443" y="1905"/>
                    <a:pt x="106680" y="0"/>
                    <a:pt x="100965" y="0"/>
                  </a:cubicBezTo>
                  <a:cubicBezTo>
                    <a:pt x="95250" y="0"/>
                    <a:pt x="89535" y="1905"/>
                    <a:pt x="84772" y="6667"/>
                  </a:cubicBezTo>
                  <a:cubicBezTo>
                    <a:pt x="78105" y="13335"/>
                    <a:pt x="72390" y="26670"/>
                    <a:pt x="66675" y="46672"/>
                  </a:cubicBezTo>
                  <a:cubicBezTo>
                    <a:pt x="65722" y="51435"/>
                    <a:pt x="64770" y="55245"/>
                    <a:pt x="62865" y="60007"/>
                  </a:cubicBezTo>
                  <a:cubicBezTo>
                    <a:pt x="57150" y="84772"/>
                    <a:pt x="48578" y="118110"/>
                    <a:pt x="36195" y="121920"/>
                  </a:cubicBezTo>
                  <a:cubicBezTo>
                    <a:pt x="35243" y="121920"/>
                    <a:pt x="34290" y="121920"/>
                    <a:pt x="33338" y="120967"/>
                  </a:cubicBezTo>
                  <a:cubicBezTo>
                    <a:pt x="27622" y="116205"/>
                    <a:pt x="20003" y="101917"/>
                    <a:pt x="19050" y="82867"/>
                  </a:cubicBezTo>
                  <a:cubicBezTo>
                    <a:pt x="19050" y="78105"/>
                    <a:pt x="14288" y="73342"/>
                    <a:pt x="9525" y="73342"/>
                  </a:cubicBezTo>
                  <a:cubicBezTo>
                    <a:pt x="4763" y="73342"/>
                    <a:pt x="0" y="78105"/>
                    <a:pt x="0" y="82867"/>
                  </a:cubicBezTo>
                  <a:cubicBezTo>
                    <a:pt x="953" y="105727"/>
                    <a:pt x="9525" y="126682"/>
                    <a:pt x="21908" y="135255"/>
                  </a:cubicBezTo>
                  <a:cubicBezTo>
                    <a:pt x="27622" y="140017"/>
                    <a:pt x="34290" y="140970"/>
                    <a:pt x="40958" y="139065"/>
                  </a:cubicBezTo>
                  <a:cubicBezTo>
                    <a:pt x="63818" y="132397"/>
                    <a:pt x="72390" y="97155"/>
                    <a:pt x="80963" y="63817"/>
                  </a:cubicBezTo>
                  <a:cubicBezTo>
                    <a:pt x="81915" y="59055"/>
                    <a:pt x="82868" y="55245"/>
                    <a:pt x="83820" y="50482"/>
                  </a:cubicBezTo>
                  <a:cubicBezTo>
                    <a:pt x="89535" y="26670"/>
                    <a:pt x="95250" y="20002"/>
                    <a:pt x="97155" y="19050"/>
                  </a:cubicBezTo>
                  <a:cubicBezTo>
                    <a:pt x="98108" y="18097"/>
                    <a:pt x="99060" y="17145"/>
                    <a:pt x="99060" y="17145"/>
                  </a:cubicBezTo>
                  <a:cubicBezTo>
                    <a:pt x="99060" y="17145"/>
                    <a:pt x="100013" y="17145"/>
                    <a:pt x="100013" y="18097"/>
                  </a:cubicBezTo>
                  <a:cubicBezTo>
                    <a:pt x="107633" y="25717"/>
                    <a:pt x="111443" y="47625"/>
                    <a:pt x="113347" y="61913"/>
                  </a:cubicBezTo>
                  <a:cubicBezTo>
                    <a:pt x="116205" y="81915"/>
                    <a:pt x="120968" y="102870"/>
                    <a:pt x="130493" y="120015"/>
                  </a:cubicBezTo>
                  <a:cubicBezTo>
                    <a:pt x="140018" y="138113"/>
                    <a:pt x="152400" y="137160"/>
                    <a:pt x="157163" y="136208"/>
                  </a:cubicBezTo>
                  <a:cubicBezTo>
                    <a:pt x="170497" y="132397"/>
                    <a:pt x="177165" y="113347"/>
                    <a:pt x="182880" y="96202"/>
                  </a:cubicBezTo>
                  <a:cubicBezTo>
                    <a:pt x="187643" y="80963"/>
                    <a:pt x="191453" y="75247"/>
                    <a:pt x="193358" y="74295"/>
                  </a:cubicBezTo>
                  <a:cubicBezTo>
                    <a:pt x="196215" y="77152"/>
                    <a:pt x="200978" y="88582"/>
                    <a:pt x="202883" y="94297"/>
                  </a:cubicBezTo>
                  <a:cubicBezTo>
                    <a:pt x="203835" y="97155"/>
                    <a:pt x="205740" y="100965"/>
                    <a:pt x="206693" y="103822"/>
                  </a:cubicBezTo>
                  <a:cubicBezTo>
                    <a:pt x="222885" y="140970"/>
                    <a:pt x="247650" y="146685"/>
                    <a:pt x="260985" y="146685"/>
                  </a:cubicBezTo>
                  <a:lnTo>
                    <a:pt x="260985" y="146685"/>
                  </a:lnTo>
                  <a:cubicBezTo>
                    <a:pt x="292418" y="146685"/>
                    <a:pt x="326708" y="117157"/>
                    <a:pt x="343853" y="75247"/>
                  </a:cubicBezTo>
                  <a:cubicBezTo>
                    <a:pt x="346710" y="74295"/>
                    <a:pt x="344805" y="68580"/>
                    <a:pt x="340043" y="66675"/>
                  </a:cubicBezTo>
                  <a:lnTo>
                    <a:pt x="340043" y="666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4" name="Group 213">
            <a:extLst>
              <a:ext uri="{FF2B5EF4-FFF2-40B4-BE49-F238E27FC236}">
                <a16:creationId xmlns:a16="http://schemas.microsoft.com/office/drawing/2014/main" id="{4061695F-897A-FCBA-38C0-20C7A45A7DA0}"/>
              </a:ext>
            </a:extLst>
          </p:cNvPr>
          <p:cNvGrpSpPr>
            <a:grpSpLocks/>
          </p:cNvGrpSpPr>
          <p:nvPr/>
        </p:nvGrpSpPr>
        <p:grpSpPr>
          <a:xfrm>
            <a:off x="8693022" y="1615681"/>
            <a:ext cx="1219328" cy="865076"/>
            <a:chOff x="8438600" y="1645366"/>
            <a:chExt cx="2483200" cy="1606085"/>
          </a:xfrm>
        </p:grpSpPr>
        <p:sp>
          <p:nvSpPr>
            <p:cNvPr id="215" name="Freeform: Shape 2230">
              <a:extLst>
                <a:ext uri="{FF2B5EF4-FFF2-40B4-BE49-F238E27FC236}">
                  <a16:creationId xmlns:a16="http://schemas.microsoft.com/office/drawing/2014/main" id="{881601DB-0CEA-456F-B1AC-EE6C33EB9093}"/>
                </a:ext>
              </a:extLst>
            </p:cNvPr>
            <p:cNvSpPr/>
            <p:nvPr/>
          </p:nvSpPr>
          <p:spPr>
            <a:xfrm>
              <a:off x="9209348" y="1645366"/>
              <a:ext cx="639281" cy="512695"/>
            </a:xfrm>
            <a:custGeom>
              <a:avLst/>
              <a:gdLst>
                <a:gd name="connsiteX0" fmla="*/ 111041 w 639281"/>
                <a:gd name="connsiteY0" fmla="*/ 63097 h 512695"/>
                <a:gd name="connsiteX1" fmla="*/ 490881 w 639281"/>
                <a:gd name="connsiteY1" fmla="*/ 17444 h 512695"/>
                <a:gd name="connsiteX2" fmla="*/ 635877 w 639281"/>
                <a:gd name="connsiteY2" fmla="*/ 216494 h 512695"/>
                <a:gd name="connsiteX3" fmla="*/ 506951 w 639281"/>
                <a:gd name="connsiteY3" fmla="*/ 433076 h 512695"/>
                <a:gd name="connsiteX4" fmla="*/ 322510 w 639281"/>
                <a:gd name="connsiteY4" fmla="*/ 435267 h 512695"/>
                <a:gd name="connsiteX5" fmla="*/ 345885 w 639281"/>
                <a:gd name="connsiteY5" fmla="*/ 512696 h 512695"/>
                <a:gd name="connsiteX6" fmla="*/ 256768 w 639281"/>
                <a:gd name="connsiteY6" fmla="*/ 436363 h 512695"/>
                <a:gd name="connsiteX7" fmla="*/ 1472 w 639281"/>
                <a:gd name="connsiteY7" fmla="*/ 355647 h 512695"/>
                <a:gd name="connsiteX8" fmla="*/ 111041 w 639281"/>
                <a:gd name="connsiteY8" fmla="*/ 63097 h 512695"/>
                <a:gd name="connsiteX9" fmla="*/ 111041 w 639281"/>
                <a:gd name="connsiteY9" fmla="*/ 63097 h 512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281" h="512695">
                  <a:moveTo>
                    <a:pt x="111041" y="63097"/>
                  </a:moveTo>
                  <a:cubicBezTo>
                    <a:pt x="242524" y="-6662"/>
                    <a:pt x="373642" y="-13236"/>
                    <a:pt x="490881" y="17444"/>
                  </a:cubicBezTo>
                  <a:cubicBezTo>
                    <a:pt x="607755" y="48123"/>
                    <a:pt x="652678" y="76976"/>
                    <a:pt x="635877" y="216494"/>
                  </a:cubicBezTo>
                  <a:cubicBezTo>
                    <a:pt x="619077" y="356012"/>
                    <a:pt x="573058" y="435632"/>
                    <a:pt x="506951" y="433076"/>
                  </a:cubicBezTo>
                  <a:cubicBezTo>
                    <a:pt x="406878" y="441111"/>
                    <a:pt x="350267" y="436363"/>
                    <a:pt x="322510" y="435267"/>
                  </a:cubicBezTo>
                  <a:lnTo>
                    <a:pt x="345885" y="512696"/>
                  </a:lnTo>
                  <a:lnTo>
                    <a:pt x="256768" y="436363"/>
                  </a:lnTo>
                  <a:cubicBezTo>
                    <a:pt x="157426" y="440015"/>
                    <a:pt x="742" y="451337"/>
                    <a:pt x="1472" y="355647"/>
                  </a:cubicBezTo>
                  <a:cubicBezTo>
                    <a:pt x="1107" y="355647"/>
                    <a:pt x="-20076" y="132491"/>
                    <a:pt x="111041" y="63097"/>
                  </a:cubicBezTo>
                  <a:lnTo>
                    <a:pt x="111041" y="63097"/>
                  </a:lnTo>
                  <a:close/>
                </a:path>
              </a:pathLst>
            </a:custGeom>
            <a:solidFill>
              <a:srgbClr val="CCCCC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6" name="Freeform: Shape 2231">
              <a:extLst>
                <a:ext uri="{FF2B5EF4-FFF2-40B4-BE49-F238E27FC236}">
                  <a16:creationId xmlns:a16="http://schemas.microsoft.com/office/drawing/2014/main" id="{B7BE141F-A109-17D6-4F3B-D8C6BD95022E}"/>
                </a:ext>
              </a:extLst>
            </p:cNvPr>
            <p:cNvSpPr/>
            <p:nvPr/>
          </p:nvSpPr>
          <p:spPr>
            <a:xfrm>
              <a:off x="8438600" y="1701809"/>
              <a:ext cx="549618" cy="470861"/>
            </a:xfrm>
            <a:custGeom>
              <a:avLst/>
              <a:gdLst>
                <a:gd name="connsiteX0" fmla="*/ 534090 w 549618"/>
                <a:gd name="connsiteY0" fmla="*/ 116588 h 470861"/>
                <a:gd name="connsiteX1" fmla="*/ 365354 w 549618"/>
                <a:gd name="connsiteY1" fmla="*/ 400737 h 470861"/>
                <a:gd name="connsiteX2" fmla="*/ 397129 w 549618"/>
                <a:gd name="connsiteY2" fmla="*/ 470862 h 470861"/>
                <a:gd name="connsiteX3" fmla="*/ 301803 w 549618"/>
                <a:gd name="connsiteY3" fmla="*/ 400737 h 470861"/>
                <a:gd name="connsiteX4" fmla="*/ 111884 w 549618"/>
                <a:gd name="connsiteY4" fmla="*/ 382476 h 470861"/>
                <a:gd name="connsiteX5" fmla="*/ 1219 w 549618"/>
                <a:gd name="connsiteY5" fmla="*/ 183426 h 470861"/>
                <a:gd name="connsiteX6" fmla="*/ 461044 w 549618"/>
                <a:gd name="connsiteY6" fmla="*/ 47925 h 470861"/>
                <a:gd name="connsiteX7" fmla="*/ 534090 w 549618"/>
                <a:gd name="connsiteY7" fmla="*/ 116588 h 470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618" h="470861">
                  <a:moveTo>
                    <a:pt x="534090" y="116588"/>
                  </a:moveTo>
                  <a:cubicBezTo>
                    <a:pt x="599466" y="267063"/>
                    <a:pt x="442052" y="404024"/>
                    <a:pt x="365354" y="400737"/>
                  </a:cubicBezTo>
                  <a:lnTo>
                    <a:pt x="397129" y="470862"/>
                  </a:lnTo>
                  <a:lnTo>
                    <a:pt x="301803" y="400737"/>
                  </a:lnTo>
                  <a:cubicBezTo>
                    <a:pt x="216705" y="393068"/>
                    <a:pt x="177260" y="393798"/>
                    <a:pt x="111884" y="382476"/>
                  </a:cubicBezTo>
                  <a:cubicBezTo>
                    <a:pt x="55273" y="384667"/>
                    <a:pt x="-9738" y="311987"/>
                    <a:pt x="1219" y="183426"/>
                  </a:cubicBezTo>
                  <a:cubicBezTo>
                    <a:pt x="24228" y="-83192"/>
                    <a:pt x="344170" y="7750"/>
                    <a:pt x="461044" y="47925"/>
                  </a:cubicBezTo>
                  <a:cubicBezTo>
                    <a:pt x="493184" y="58882"/>
                    <a:pt x="519846" y="83718"/>
                    <a:pt x="534090" y="116588"/>
                  </a:cubicBezTo>
                  <a:close/>
                </a:path>
              </a:pathLst>
            </a:custGeom>
            <a:solidFill>
              <a:srgbClr val="CCCCC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7" name="Freeform: Shape 2232">
              <a:extLst>
                <a:ext uri="{FF2B5EF4-FFF2-40B4-BE49-F238E27FC236}">
                  <a16:creationId xmlns:a16="http://schemas.microsoft.com/office/drawing/2014/main" id="{90D5F8CC-BBA2-EA4F-67A9-1E56560873A4}"/>
                </a:ext>
              </a:extLst>
            </p:cNvPr>
            <p:cNvSpPr/>
            <p:nvPr/>
          </p:nvSpPr>
          <p:spPr>
            <a:xfrm>
              <a:off x="10848188" y="2531326"/>
              <a:ext cx="73612" cy="342220"/>
            </a:xfrm>
            <a:custGeom>
              <a:avLst/>
              <a:gdLst>
                <a:gd name="connsiteX0" fmla="*/ 16395 w 73612"/>
                <a:gd name="connsiteY0" fmla="*/ 341490 h 342220"/>
                <a:gd name="connsiteX1" fmla="*/ 50727 w 73612"/>
                <a:gd name="connsiteY1" fmla="*/ 329072 h 342220"/>
                <a:gd name="connsiteX2" fmla="*/ 73006 w 73612"/>
                <a:gd name="connsiteY2" fmla="*/ 249452 h 342220"/>
                <a:gd name="connsiteX3" fmla="*/ 50727 w 73612"/>
                <a:gd name="connsiteY3" fmla="*/ 170562 h 342220"/>
                <a:gd name="connsiteX4" fmla="*/ 22969 w 73612"/>
                <a:gd name="connsiteY4" fmla="*/ 3287 h 342220"/>
                <a:gd name="connsiteX5" fmla="*/ 3247 w 73612"/>
                <a:gd name="connsiteY5" fmla="*/ 0 h 342220"/>
                <a:gd name="connsiteX6" fmla="*/ 31735 w 73612"/>
                <a:gd name="connsiteY6" fmla="*/ 177867 h 342220"/>
                <a:gd name="connsiteX7" fmla="*/ 52918 w 73612"/>
                <a:gd name="connsiteY7" fmla="*/ 250913 h 342220"/>
                <a:gd name="connsiteX8" fmla="*/ 37579 w 73612"/>
                <a:gd name="connsiteY8" fmla="*/ 314098 h 342220"/>
                <a:gd name="connsiteX9" fmla="*/ 11282 w 73612"/>
                <a:gd name="connsiteY9" fmla="*/ 321768 h 342220"/>
                <a:gd name="connsiteX10" fmla="*/ 7265 w 73612"/>
                <a:gd name="connsiteY10" fmla="*/ 341490 h 342220"/>
                <a:gd name="connsiteX11" fmla="*/ 16395 w 73612"/>
                <a:gd name="connsiteY11" fmla="*/ 342221 h 342220"/>
                <a:gd name="connsiteX12" fmla="*/ 16395 w 73612"/>
                <a:gd name="connsiteY12" fmla="*/ 341490 h 34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612" h="342220">
                  <a:moveTo>
                    <a:pt x="16395" y="341490"/>
                  </a:moveTo>
                  <a:cubicBezTo>
                    <a:pt x="24796" y="341490"/>
                    <a:pt x="38674" y="339664"/>
                    <a:pt x="50727" y="329072"/>
                  </a:cubicBezTo>
                  <a:cubicBezTo>
                    <a:pt x="68258" y="313733"/>
                    <a:pt x="75928" y="287071"/>
                    <a:pt x="73006" y="249452"/>
                  </a:cubicBezTo>
                  <a:cubicBezTo>
                    <a:pt x="71180" y="223886"/>
                    <a:pt x="61319" y="197955"/>
                    <a:pt x="50727" y="170562"/>
                  </a:cubicBezTo>
                  <a:cubicBezTo>
                    <a:pt x="32831" y="124543"/>
                    <a:pt x="12743" y="71950"/>
                    <a:pt x="22969" y="3287"/>
                  </a:cubicBezTo>
                  <a:lnTo>
                    <a:pt x="3247" y="0"/>
                  </a:lnTo>
                  <a:cubicBezTo>
                    <a:pt x="-8440" y="74142"/>
                    <a:pt x="13839" y="131483"/>
                    <a:pt x="31735" y="177867"/>
                  </a:cubicBezTo>
                  <a:cubicBezTo>
                    <a:pt x="41961" y="204894"/>
                    <a:pt x="51458" y="228269"/>
                    <a:pt x="52918" y="250913"/>
                  </a:cubicBezTo>
                  <a:cubicBezTo>
                    <a:pt x="55110" y="281958"/>
                    <a:pt x="49631" y="303141"/>
                    <a:pt x="37579" y="314098"/>
                  </a:cubicBezTo>
                  <a:cubicBezTo>
                    <a:pt x="25891" y="324324"/>
                    <a:pt x="11647" y="321768"/>
                    <a:pt x="11282" y="321768"/>
                  </a:cubicBezTo>
                  <a:lnTo>
                    <a:pt x="7265" y="341490"/>
                  </a:lnTo>
                  <a:cubicBezTo>
                    <a:pt x="7265" y="341490"/>
                    <a:pt x="10917" y="342221"/>
                    <a:pt x="16395" y="342221"/>
                  </a:cubicBezTo>
                  <a:lnTo>
                    <a:pt x="16395" y="341490"/>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8" name="Freeform: Shape 2233">
              <a:extLst>
                <a:ext uri="{FF2B5EF4-FFF2-40B4-BE49-F238E27FC236}">
                  <a16:creationId xmlns:a16="http://schemas.microsoft.com/office/drawing/2014/main" id="{D6160273-8FD9-9E84-928B-C29DC6EFE426}"/>
                </a:ext>
              </a:extLst>
            </p:cNvPr>
            <p:cNvSpPr/>
            <p:nvPr/>
          </p:nvSpPr>
          <p:spPr>
            <a:xfrm>
              <a:off x="10692194" y="3031326"/>
              <a:ext cx="164535" cy="81811"/>
            </a:xfrm>
            <a:custGeom>
              <a:avLst/>
              <a:gdLst>
                <a:gd name="connsiteX0" fmla="*/ 19357 w 164535"/>
                <a:gd name="connsiteY0" fmla="*/ 0 h 81811"/>
                <a:gd name="connsiteX1" fmla="*/ 0 w 164535"/>
                <a:gd name="connsiteY1" fmla="*/ 29584 h 81811"/>
                <a:gd name="connsiteX2" fmla="*/ 163258 w 164535"/>
                <a:gd name="connsiteY2" fmla="*/ 81812 h 81811"/>
                <a:gd name="connsiteX3" fmla="*/ 134040 w 164535"/>
                <a:gd name="connsiteY3" fmla="*/ 50402 h 81811"/>
                <a:gd name="connsiteX4" fmla="*/ 19357 w 164535"/>
                <a:gd name="connsiteY4" fmla="*/ 0 h 81811"/>
                <a:gd name="connsiteX5" fmla="*/ 19357 w 164535"/>
                <a:gd name="connsiteY5" fmla="*/ 0 h 8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535" h="81811">
                  <a:moveTo>
                    <a:pt x="19357" y="0"/>
                  </a:moveTo>
                  <a:lnTo>
                    <a:pt x="0" y="29584"/>
                  </a:lnTo>
                  <a:lnTo>
                    <a:pt x="163258" y="81812"/>
                  </a:lnTo>
                  <a:cubicBezTo>
                    <a:pt x="163258" y="81812"/>
                    <a:pt x="173850" y="71585"/>
                    <a:pt x="134040" y="50402"/>
                  </a:cubicBezTo>
                  <a:cubicBezTo>
                    <a:pt x="87655" y="25931"/>
                    <a:pt x="19357" y="0"/>
                    <a:pt x="19357" y="0"/>
                  </a:cubicBezTo>
                  <a:lnTo>
                    <a:pt x="19357" y="0"/>
                  </a:lnTo>
                  <a:close/>
                </a:path>
              </a:pathLst>
            </a:custGeom>
            <a:solidFill>
              <a:srgbClr val="CECEC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9" name="Freeform: Shape 2234">
              <a:extLst>
                <a:ext uri="{FF2B5EF4-FFF2-40B4-BE49-F238E27FC236}">
                  <a16:creationId xmlns:a16="http://schemas.microsoft.com/office/drawing/2014/main" id="{9A38F0C4-9537-BD89-D929-E489FF903DA0}"/>
                </a:ext>
              </a:extLst>
            </p:cNvPr>
            <p:cNvSpPr/>
            <p:nvPr/>
          </p:nvSpPr>
          <p:spPr>
            <a:xfrm>
              <a:off x="10537155" y="3031326"/>
              <a:ext cx="164535" cy="81811"/>
            </a:xfrm>
            <a:custGeom>
              <a:avLst/>
              <a:gdLst>
                <a:gd name="connsiteX0" fmla="*/ 145178 w 164535"/>
                <a:gd name="connsiteY0" fmla="*/ 0 h 81811"/>
                <a:gd name="connsiteX1" fmla="*/ 164536 w 164535"/>
                <a:gd name="connsiteY1" fmla="*/ 29584 h 81811"/>
                <a:gd name="connsiteX2" fmla="*/ 1278 w 164535"/>
                <a:gd name="connsiteY2" fmla="*/ 81812 h 81811"/>
                <a:gd name="connsiteX3" fmla="*/ 30496 w 164535"/>
                <a:gd name="connsiteY3" fmla="*/ 50402 h 81811"/>
                <a:gd name="connsiteX4" fmla="*/ 145178 w 164535"/>
                <a:gd name="connsiteY4" fmla="*/ 0 h 81811"/>
                <a:gd name="connsiteX5" fmla="*/ 145178 w 164535"/>
                <a:gd name="connsiteY5" fmla="*/ 0 h 8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535" h="81811">
                  <a:moveTo>
                    <a:pt x="145178" y="0"/>
                  </a:moveTo>
                  <a:lnTo>
                    <a:pt x="164536" y="29584"/>
                  </a:lnTo>
                  <a:lnTo>
                    <a:pt x="1278" y="81812"/>
                  </a:lnTo>
                  <a:cubicBezTo>
                    <a:pt x="1278" y="81812"/>
                    <a:pt x="-9314" y="71585"/>
                    <a:pt x="30496" y="50402"/>
                  </a:cubicBezTo>
                  <a:cubicBezTo>
                    <a:pt x="76880" y="25931"/>
                    <a:pt x="145178" y="0"/>
                    <a:pt x="145178" y="0"/>
                  </a:cubicBezTo>
                  <a:lnTo>
                    <a:pt x="145178" y="0"/>
                  </a:lnTo>
                  <a:close/>
                </a:path>
              </a:pathLst>
            </a:custGeom>
            <a:solidFill>
              <a:srgbClr val="CECEC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0" name="Freeform: Shape 2235">
              <a:extLst>
                <a:ext uri="{FF2B5EF4-FFF2-40B4-BE49-F238E27FC236}">
                  <a16:creationId xmlns:a16="http://schemas.microsoft.com/office/drawing/2014/main" id="{8A240FB7-7AA5-5B61-9B12-FDA6E4A45D6B}"/>
                </a:ext>
              </a:extLst>
            </p:cNvPr>
            <p:cNvSpPr/>
            <p:nvPr/>
          </p:nvSpPr>
          <p:spPr>
            <a:xfrm>
              <a:off x="10679776" y="2943306"/>
              <a:ext cx="33966" cy="121256"/>
            </a:xfrm>
            <a:custGeom>
              <a:avLst/>
              <a:gdLst>
                <a:gd name="connsiteX0" fmla="*/ 0 w 33966"/>
                <a:gd name="connsiteY0" fmla="*/ 0 h 121256"/>
                <a:gd name="connsiteX1" fmla="*/ 33966 w 33966"/>
                <a:gd name="connsiteY1" fmla="*/ 0 h 121256"/>
                <a:gd name="connsiteX2" fmla="*/ 33966 w 33966"/>
                <a:gd name="connsiteY2" fmla="*/ 121256 h 121256"/>
                <a:gd name="connsiteX3" fmla="*/ 0 w 33966"/>
                <a:gd name="connsiteY3" fmla="*/ 121256 h 121256"/>
              </a:gdLst>
              <a:ahLst/>
              <a:cxnLst>
                <a:cxn ang="0">
                  <a:pos x="connsiteX0" y="connsiteY0"/>
                </a:cxn>
                <a:cxn ang="0">
                  <a:pos x="connsiteX1" y="connsiteY1"/>
                </a:cxn>
                <a:cxn ang="0">
                  <a:pos x="connsiteX2" y="connsiteY2"/>
                </a:cxn>
                <a:cxn ang="0">
                  <a:pos x="connsiteX3" y="connsiteY3"/>
                </a:cxn>
              </a:cxnLst>
              <a:rect l="l" t="t" r="r" b="b"/>
              <a:pathLst>
                <a:path w="33966" h="121256">
                  <a:moveTo>
                    <a:pt x="0" y="0"/>
                  </a:moveTo>
                  <a:lnTo>
                    <a:pt x="33966" y="0"/>
                  </a:lnTo>
                  <a:lnTo>
                    <a:pt x="33966" y="121256"/>
                  </a:lnTo>
                  <a:lnTo>
                    <a:pt x="0" y="121256"/>
                  </a:lnTo>
                  <a:close/>
                </a:path>
              </a:pathLst>
            </a:custGeom>
            <a:solidFill>
              <a:srgbClr val="CECEC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1" name="Freeform: Shape 2236">
              <a:extLst>
                <a:ext uri="{FF2B5EF4-FFF2-40B4-BE49-F238E27FC236}">
                  <a16:creationId xmlns:a16="http://schemas.microsoft.com/office/drawing/2014/main" id="{535641F3-6F06-D129-C325-ED3CFA8597D1}"/>
                </a:ext>
              </a:extLst>
            </p:cNvPr>
            <p:cNvSpPr/>
            <p:nvPr/>
          </p:nvSpPr>
          <p:spPr>
            <a:xfrm>
              <a:off x="10697308" y="3037535"/>
              <a:ext cx="140706" cy="78159"/>
            </a:xfrm>
            <a:custGeom>
              <a:avLst/>
              <a:gdLst>
                <a:gd name="connsiteX0" fmla="*/ 16435 w 140706"/>
                <a:gd name="connsiteY0" fmla="*/ 0 h 78159"/>
                <a:gd name="connsiteX1" fmla="*/ 0 w 140706"/>
                <a:gd name="connsiteY1" fmla="*/ 28123 h 78159"/>
                <a:gd name="connsiteX2" fmla="*/ 139518 w 140706"/>
                <a:gd name="connsiteY2" fmla="*/ 78159 h 78159"/>
                <a:gd name="connsiteX3" fmla="*/ 114317 w 140706"/>
                <a:gd name="connsiteY3" fmla="*/ 48210 h 78159"/>
                <a:gd name="connsiteX4" fmla="*/ 16435 w 140706"/>
                <a:gd name="connsiteY4" fmla="*/ 0 h 78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06" h="78159">
                  <a:moveTo>
                    <a:pt x="16435" y="0"/>
                  </a:moveTo>
                  <a:lnTo>
                    <a:pt x="0" y="28123"/>
                  </a:lnTo>
                  <a:lnTo>
                    <a:pt x="139518" y="78159"/>
                  </a:lnTo>
                  <a:cubicBezTo>
                    <a:pt x="139518" y="78159"/>
                    <a:pt x="149014" y="68298"/>
                    <a:pt x="114317" y="48210"/>
                  </a:cubicBezTo>
                  <a:cubicBezTo>
                    <a:pt x="74507" y="25201"/>
                    <a:pt x="16435" y="0"/>
                    <a:pt x="16435" y="0"/>
                  </a:cubicBezTo>
                  <a:close/>
                </a:path>
              </a:pathLst>
            </a:custGeom>
            <a:solidFill>
              <a:srgbClr val="B3B3B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2" name="Freeform: Shape 2237">
              <a:extLst>
                <a:ext uri="{FF2B5EF4-FFF2-40B4-BE49-F238E27FC236}">
                  <a16:creationId xmlns:a16="http://schemas.microsoft.com/office/drawing/2014/main" id="{7385500A-309D-2356-22D5-FBA45742EA6B}"/>
                </a:ext>
              </a:extLst>
            </p:cNvPr>
            <p:cNvSpPr/>
            <p:nvPr/>
          </p:nvSpPr>
          <p:spPr>
            <a:xfrm>
              <a:off x="10555871" y="3037535"/>
              <a:ext cx="140706" cy="78159"/>
            </a:xfrm>
            <a:custGeom>
              <a:avLst/>
              <a:gdLst>
                <a:gd name="connsiteX0" fmla="*/ 124271 w 140706"/>
                <a:gd name="connsiteY0" fmla="*/ 0 h 78159"/>
                <a:gd name="connsiteX1" fmla="*/ 140706 w 140706"/>
                <a:gd name="connsiteY1" fmla="*/ 28123 h 78159"/>
                <a:gd name="connsiteX2" fmla="*/ 1188 w 140706"/>
                <a:gd name="connsiteY2" fmla="*/ 78159 h 78159"/>
                <a:gd name="connsiteX3" fmla="*/ 26389 w 140706"/>
                <a:gd name="connsiteY3" fmla="*/ 48210 h 78159"/>
                <a:gd name="connsiteX4" fmla="*/ 124271 w 140706"/>
                <a:gd name="connsiteY4" fmla="*/ 0 h 78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06" h="78159">
                  <a:moveTo>
                    <a:pt x="124271" y="0"/>
                  </a:moveTo>
                  <a:lnTo>
                    <a:pt x="140706" y="28123"/>
                  </a:lnTo>
                  <a:lnTo>
                    <a:pt x="1188" y="78159"/>
                  </a:lnTo>
                  <a:cubicBezTo>
                    <a:pt x="1188" y="78159"/>
                    <a:pt x="-8308" y="68298"/>
                    <a:pt x="26389" y="48210"/>
                  </a:cubicBezTo>
                  <a:cubicBezTo>
                    <a:pt x="65834" y="25201"/>
                    <a:pt x="124271" y="0"/>
                    <a:pt x="124271" y="0"/>
                  </a:cubicBezTo>
                  <a:close/>
                </a:path>
              </a:pathLst>
            </a:custGeom>
            <a:solidFill>
              <a:srgbClr val="B3B3B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3" name="Freeform: Shape 2238">
              <a:extLst>
                <a:ext uri="{FF2B5EF4-FFF2-40B4-BE49-F238E27FC236}">
                  <a16:creationId xmlns:a16="http://schemas.microsoft.com/office/drawing/2014/main" id="{635C054B-BCE1-F176-986D-9DA55E40FE2A}"/>
                </a:ext>
              </a:extLst>
            </p:cNvPr>
            <p:cNvSpPr/>
            <p:nvPr/>
          </p:nvSpPr>
          <p:spPr>
            <a:xfrm>
              <a:off x="10821121" y="3114599"/>
              <a:ext cx="23739" cy="23739"/>
            </a:xfrm>
            <a:custGeom>
              <a:avLst/>
              <a:gdLst>
                <a:gd name="connsiteX0" fmla="*/ 0 w 23739"/>
                <a:gd name="connsiteY0" fmla="*/ 12053 h 23739"/>
                <a:gd name="connsiteX1" fmla="*/ 11687 w 23739"/>
                <a:gd name="connsiteY1" fmla="*/ 23740 h 23739"/>
                <a:gd name="connsiteX2" fmla="*/ 23740 w 23739"/>
                <a:gd name="connsiteY2" fmla="*/ 12053 h 23739"/>
                <a:gd name="connsiteX3" fmla="*/ 11687 w 23739"/>
                <a:gd name="connsiteY3" fmla="*/ 0 h 23739"/>
                <a:gd name="connsiteX4" fmla="*/ 0 w 23739"/>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39" h="23739">
                  <a:moveTo>
                    <a:pt x="0" y="12053"/>
                  </a:moveTo>
                  <a:cubicBezTo>
                    <a:pt x="0" y="18627"/>
                    <a:pt x="5478" y="23740"/>
                    <a:pt x="11687" y="23740"/>
                  </a:cubicBezTo>
                  <a:cubicBezTo>
                    <a:pt x="17896" y="23740"/>
                    <a:pt x="23740" y="18262"/>
                    <a:pt x="23740" y="12053"/>
                  </a:cubicBezTo>
                  <a:cubicBezTo>
                    <a:pt x="23740" y="5844"/>
                    <a:pt x="18262" y="0"/>
                    <a:pt x="11687" y="0"/>
                  </a:cubicBezTo>
                  <a:cubicBezTo>
                    <a:pt x="4748" y="0"/>
                    <a:pt x="0" y="5478"/>
                    <a:pt x="0" y="12053"/>
                  </a:cubicBez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4" name="Freeform: Shape 2239">
              <a:extLst>
                <a:ext uri="{FF2B5EF4-FFF2-40B4-BE49-F238E27FC236}">
                  <a16:creationId xmlns:a16="http://schemas.microsoft.com/office/drawing/2014/main" id="{37193328-D34B-8EB7-98B0-12D0F15EB1DD}"/>
                </a:ext>
              </a:extLst>
            </p:cNvPr>
            <p:cNvSpPr/>
            <p:nvPr/>
          </p:nvSpPr>
          <p:spPr>
            <a:xfrm>
              <a:off x="10549754" y="3114599"/>
              <a:ext cx="23374" cy="23739"/>
            </a:xfrm>
            <a:custGeom>
              <a:avLst/>
              <a:gdLst>
                <a:gd name="connsiteX0" fmla="*/ 0 w 23374"/>
                <a:gd name="connsiteY0" fmla="*/ 12053 h 23739"/>
                <a:gd name="connsiteX1" fmla="*/ 11687 w 23374"/>
                <a:gd name="connsiteY1" fmla="*/ 23740 h 23739"/>
                <a:gd name="connsiteX2" fmla="*/ 23375 w 23374"/>
                <a:gd name="connsiteY2" fmla="*/ 12053 h 23739"/>
                <a:gd name="connsiteX3" fmla="*/ 11687 w 23374"/>
                <a:gd name="connsiteY3" fmla="*/ 0 h 23739"/>
                <a:gd name="connsiteX4" fmla="*/ 0 w 23374"/>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74" h="23739">
                  <a:moveTo>
                    <a:pt x="0" y="12053"/>
                  </a:moveTo>
                  <a:cubicBezTo>
                    <a:pt x="0" y="18627"/>
                    <a:pt x="5478" y="23740"/>
                    <a:pt x="11687" y="23740"/>
                  </a:cubicBezTo>
                  <a:cubicBezTo>
                    <a:pt x="17896" y="23740"/>
                    <a:pt x="23375" y="18262"/>
                    <a:pt x="23375" y="12053"/>
                  </a:cubicBezTo>
                  <a:cubicBezTo>
                    <a:pt x="23375" y="5844"/>
                    <a:pt x="17896" y="0"/>
                    <a:pt x="11687" y="0"/>
                  </a:cubicBezTo>
                  <a:cubicBezTo>
                    <a:pt x="5478" y="0"/>
                    <a:pt x="0" y="5478"/>
                    <a:pt x="0" y="12053"/>
                  </a:cubicBez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5" name="Freeform: Shape 2240">
              <a:extLst>
                <a:ext uri="{FF2B5EF4-FFF2-40B4-BE49-F238E27FC236}">
                  <a16:creationId xmlns:a16="http://schemas.microsoft.com/office/drawing/2014/main" id="{33308CF4-8627-6CD1-8324-E3318F965928}"/>
                </a:ext>
              </a:extLst>
            </p:cNvPr>
            <p:cNvSpPr/>
            <p:nvPr/>
          </p:nvSpPr>
          <p:spPr>
            <a:xfrm>
              <a:off x="10849609" y="3114599"/>
              <a:ext cx="23374" cy="23739"/>
            </a:xfrm>
            <a:custGeom>
              <a:avLst/>
              <a:gdLst>
                <a:gd name="connsiteX0" fmla="*/ 0 w 23374"/>
                <a:gd name="connsiteY0" fmla="*/ 12053 h 23739"/>
                <a:gd name="connsiteX1" fmla="*/ 11687 w 23374"/>
                <a:gd name="connsiteY1" fmla="*/ 23740 h 23739"/>
                <a:gd name="connsiteX2" fmla="*/ 23375 w 23374"/>
                <a:gd name="connsiteY2" fmla="*/ 12053 h 23739"/>
                <a:gd name="connsiteX3" fmla="*/ 11687 w 23374"/>
                <a:gd name="connsiteY3" fmla="*/ 0 h 23739"/>
                <a:gd name="connsiteX4" fmla="*/ 0 w 23374"/>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74" h="23739">
                  <a:moveTo>
                    <a:pt x="0" y="12053"/>
                  </a:moveTo>
                  <a:cubicBezTo>
                    <a:pt x="0" y="18627"/>
                    <a:pt x="5478" y="23740"/>
                    <a:pt x="11687" y="23740"/>
                  </a:cubicBezTo>
                  <a:cubicBezTo>
                    <a:pt x="17896" y="23740"/>
                    <a:pt x="23375" y="18262"/>
                    <a:pt x="23375" y="12053"/>
                  </a:cubicBezTo>
                  <a:cubicBezTo>
                    <a:pt x="23375" y="5844"/>
                    <a:pt x="17896" y="0"/>
                    <a:pt x="11687" y="0"/>
                  </a:cubicBezTo>
                  <a:cubicBezTo>
                    <a:pt x="5478" y="0"/>
                    <a:pt x="0" y="5478"/>
                    <a:pt x="0" y="12053"/>
                  </a:cubicBezTo>
                  <a:close/>
                </a:path>
              </a:pathLst>
            </a:custGeom>
            <a:solidFill>
              <a:srgbClr val="4D5E6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6" name="Freeform: Shape 2241">
              <a:extLst>
                <a:ext uri="{FF2B5EF4-FFF2-40B4-BE49-F238E27FC236}">
                  <a16:creationId xmlns:a16="http://schemas.microsoft.com/office/drawing/2014/main" id="{A71ED72C-969C-7C03-F99D-0861BD8AA282}"/>
                </a:ext>
              </a:extLst>
            </p:cNvPr>
            <p:cNvSpPr/>
            <p:nvPr/>
          </p:nvSpPr>
          <p:spPr>
            <a:xfrm>
              <a:off x="10521266" y="3114599"/>
              <a:ext cx="23374" cy="23739"/>
            </a:xfrm>
            <a:custGeom>
              <a:avLst/>
              <a:gdLst>
                <a:gd name="connsiteX0" fmla="*/ 0 w 23374"/>
                <a:gd name="connsiteY0" fmla="*/ 12053 h 23739"/>
                <a:gd name="connsiteX1" fmla="*/ 11687 w 23374"/>
                <a:gd name="connsiteY1" fmla="*/ 23740 h 23739"/>
                <a:gd name="connsiteX2" fmla="*/ 23375 w 23374"/>
                <a:gd name="connsiteY2" fmla="*/ 12053 h 23739"/>
                <a:gd name="connsiteX3" fmla="*/ 11687 w 23374"/>
                <a:gd name="connsiteY3" fmla="*/ 0 h 23739"/>
                <a:gd name="connsiteX4" fmla="*/ 0 w 23374"/>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74" h="23739">
                  <a:moveTo>
                    <a:pt x="0" y="12053"/>
                  </a:moveTo>
                  <a:cubicBezTo>
                    <a:pt x="0" y="18627"/>
                    <a:pt x="5478" y="23740"/>
                    <a:pt x="11687" y="23740"/>
                  </a:cubicBezTo>
                  <a:cubicBezTo>
                    <a:pt x="17896" y="23740"/>
                    <a:pt x="23375" y="18262"/>
                    <a:pt x="23375" y="12053"/>
                  </a:cubicBezTo>
                  <a:cubicBezTo>
                    <a:pt x="23375" y="5844"/>
                    <a:pt x="17896" y="0"/>
                    <a:pt x="11687" y="0"/>
                  </a:cubicBezTo>
                  <a:cubicBezTo>
                    <a:pt x="5478" y="0"/>
                    <a:pt x="0" y="5478"/>
                    <a:pt x="0" y="12053"/>
                  </a:cubicBezTo>
                  <a:close/>
                </a:path>
              </a:pathLst>
            </a:custGeom>
            <a:solidFill>
              <a:srgbClr val="4D5E6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7" name="Freeform: Shape 2242">
              <a:extLst>
                <a:ext uri="{FF2B5EF4-FFF2-40B4-BE49-F238E27FC236}">
                  <a16:creationId xmlns:a16="http://schemas.microsoft.com/office/drawing/2014/main" id="{C51C4AE6-C78B-5943-FF2D-E82ACE41891E}"/>
                </a:ext>
              </a:extLst>
            </p:cNvPr>
            <p:cNvSpPr/>
            <p:nvPr/>
          </p:nvSpPr>
          <p:spPr>
            <a:xfrm>
              <a:off x="10684890" y="2898383"/>
              <a:ext cx="25200" cy="43827"/>
            </a:xfrm>
            <a:custGeom>
              <a:avLst/>
              <a:gdLst>
                <a:gd name="connsiteX0" fmla="*/ 0 w 25200"/>
                <a:gd name="connsiteY0" fmla="*/ 0 h 43827"/>
                <a:gd name="connsiteX1" fmla="*/ 25201 w 25200"/>
                <a:gd name="connsiteY1" fmla="*/ 0 h 43827"/>
                <a:gd name="connsiteX2" fmla="*/ 25201 w 25200"/>
                <a:gd name="connsiteY2" fmla="*/ 43828 h 43827"/>
                <a:gd name="connsiteX3" fmla="*/ 0 w 25200"/>
                <a:gd name="connsiteY3" fmla="*/ 43828 h 43827"/>
              </a:gdLst>
              <a:ahLst/>
              <a:cxnLst>
                <a:cxn ang="0">
                  <a:pos x="connsiteX0" y="connsiteY0"/>
                </a:cxn>
                <a:cxn ang="0">
                  <a:pos x="connsiteX1" y="connsiteY1"/>
                </a:cxn>
                <a:cxn ang="0">
                  <a:pos x="connsiteX2" y="connsiteY2"/>
                </a:cxn>
                <a:cxn ang="0">
                  <a:pos x="connsiteX3" y="connsiteY3"/>
                </a:cxn>
              </a:cxnLst>
              <a:rect l="l" t="t" r="r" b="b"/>
              <a:pathLst>
                <a:path w="25200" h="43827">
                  <a:moveTo>
                    <a:pt x="0" y="0"/>
                  </a:moveTo>
                  <a:lnTo>
                    <a:pt x="25201" y="0"/>
                  </a:lnTo>
                  <a:lnTo>
                    <a:pt x="25201" y="43828"/>
                  </a:lnTo>
                  <a:lnTo>
                    <a:pt x="0" y="43828"/>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8" name="Freeform: Shape 2243">
              <a:extLst>
                <a:ext uri="{FF2B5EF4-FFF2-40B4-BE49-F238E27FC236}">
                  <a16:creationId xmlns:a16="http://schemas.microsoft.com/office/drawing/2014/main" id="{EF3FA770-CF98-B286-4F95-6126DAAC67A5}"/>
                </a:ext>
              </a:extLst>
            </p:cNvPr>
            <p:cNvSpPr/>
            <p:nvPr/>
          </p:nvSpPr>
          <p:spPr>
            <a:xfrm>
              <a:off x="10666263" y="2851633"/>
              <a:ext cx="62089" cy="48210"/>
            </a:xfrm>
            <a:custGeom>
              <a:avLst/>
              <a:gdLst>
                <a:gd name="connsiteX0" fmla="*/ 0 w 62089"/>
                <a:gd name="connsiteY0" fmla="*/ 24105 h 48210"/>
                <a:gd name="connsiteX1" fmla="*/ 24105 w 62089"/>
                <a:gd name="connsiteY1" fmla="*/ 48210 h 48210"/>
                <a:gd name="connsiteX2" fmla="*/ 37984 w 62089"/>
                <a:gd name="connsiteY2" fmla="*/ 48210 h 48210"/>
                <a:gd name="connsiteX3" fmla="*/ 62089 w 62089"/>
                <a:gd name="connsiteY3" fmla="*/ 24105 h 48210"/>
                <a:gd name="connsiteX4" fmla="*/ 62089 w 62089"/>
                <a:gd name="connsiteY4" fmla="*/ 24105 h 48210"/>
                <a:gd name="connsiteX5" fmla="*/ 37984 w 62089"/>
                <a:gd name="connsiteY5" fmla="*/ 0 h 48210"/>
                <a:gd name="connsiteX6" fmla="*/ 24105 w 62089"/>
                <a:gd name="connsiteY6" fmla="*/ 0 h 48210"/>
                <a:gd name="connsiteX7" fmla="*/ 0 w 62089"/>
                <a:gd name="connsiteY7" fmla="*/ 24105 h 48210"/>
                <a:gd name="connsiteX8" fmla="*/ 0 w 62089"/>
                <a:gd name="connsiteY8" fmla="*/ 24105 h 48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089" h="48210">
                  <a:moveTo>
                    <a:pt x="0" y="24105"/>
                  </a:moveTo>
                  <a:cubicBezTo>
                    <a:pt x="0" y="37619"/>
                    <a:pt x="10592" y="48210"/>
                    <a:pt x="24105" y="48210"/>
                  </a:cubicBezTo>
                  <a:lnTo>
                    <a:pt x="37984" y="48210"/>
                  </a:lnTo>
                  <a:cubicBezTo>
                    <a:pt x="51497" y="48210"/>
                    <a:pt x="62089" y="37619"/>
                    <a:pt x="62089" y="24105"/>
                  </a:cubicBezTo>
                  <a:lnTo>
                    <a:pt x="62089" y="24105"/>
                  </a:lnTo>
                  <a:cubicBezTo>
                    <a:pt x="62089" y="10592"/>
                    <a:pt x="51497" y="0"/>
                    <a:pt x="37984" y="0"/>
                  </a:cubicBezTo>
                  <a:lnTo>
                    <a:pt x="24105" y="0"/>
                  </a:lnTo>
                  <a:cubicBezTo>
                    <a:pt x="10592" y="0"/>
                    <a:pt x="0" y="10592"/>
                    <a:pt x="0" y="24105"/>
                  </a:cubicBezTo>
                  <a:lnTo>
                    <a:pt x="0" y="24105"/>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9" name="Freeform: Shape 2244">
              <a:extLst>
                <a:ext uri="{FF2B5EF4-FFF2-40B4-BE49-F238E27FC236}">
                  <a16:creationId xmlns:a16="http://schemas.microsoft.com/office/drawing/2014/main" id="{06300665-737C-E125-8D30-2E1E52284778}"/>
                </a:ext>
              </a:extLst>
            </p:cNvPr>
            <p:cNvSpPr/>
            <p:nvPr/>
          </p:nvSpPr>
          <p:spPr>
            <a:xfrm>
              <a:off x="10511040" y="2794292"/>
              <a:ext cx="372169" cy="59167"/>
            </a:xfrm>
            <a:custGeom>
              <a:avLst/>
              <a:gdLst>
                <a:gd name="connsiteX0" fmla="*/ 731 w 372169"/>
                <a:gd name="connsiteY0" fmla="*/ 59167 h 59167"/>
                <a:gd name="connsiteX1" fmla="*/ 0 w 372169"/>
                <a:gd name="connsiteY1" fmla="*/ 35427 h 59167"/>
                <a:gd name="connsiteX2" fmla="*/ 28123 w 372169"/>
                <a:gd name="connsiteY2" fmla="*/ 0 h 59167"/>
                <a:gd name="connsiteX3" fmla="*/ 344047 w 372169"/>
                <a:gd name="connsiteY3" fmla="*/ 0 h 59167"/>
                <a:gd name="connsiteX4" fmla="*/ 372170 w 372169"/>
                <a:gd name="connsiteY4" fmla="*/ 35427 h 59167"/>
                <a:gd name="connsiteX5" fmla="*/ 371439 w 372169"/>
                <a:gd name="connsiteY5" fmla="*/ 59167 h 59167"/>
                <a:gd name="connsiteX6" fmla="*/ 365 w 372169"/>
                <a:gd name="connsiteY6" fmla="*/ 59167 h 59167"/>
                <a:gd name="connsiteX7" fmla="*/ 731 w 372169"/>
                <a:gd name="connsiteY7" fmla="*/ 59167 h 59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169" h="59167">
                  <a:moveTo>
                    <a:pt x="731" y="59167"/>
                  </a:moveTo>
                  <a:cubicBezTo>
                    <a:pt x="365" y="56611"/>
                    <a:pt x="0" y="37984"/>
                    <a:pt x="0" y="35427"/>
                  </a:cubicBezTo>
                  <a:cubicBezTo>
                    <a:pt x="0" y="15705"/>
                    <a:pt x="12418" y="0"/>
                    <a:pt x="28123" y="0"/>
                  </a:cubicBezTo>
                  <a:lnTo>
                    <a:pt x="344047" y="0"/>
                  </a:lnTo>
                  <a:cubicBezTo>
                    <a:pt x="359752" y="0"/>
                    <a:pt x="372170" y="16070"/>
                    <a:pt x="372170" y="35427"/>
                  </a:cubicBezTo>
                  <a:cubicBezTo>
                    <a:pt x="372170" y="38714"/>
                    <a:pt x="372170" y="56611"/>
                    <a:pt x="371439" y="59167"/>
                  </a:cubicBezTo>
                  <a:lnTo>
                    <a:pt x="365" y="59167"/>
                  </a:lnTo>
                  <a:lnTo>
                    <a:pt x="731" y="59167"/>
                  </a:lnTo>
                  <a:close/>
                </a:path>
              </a:pathLst>
            </a:custGeom>
            <a:solidFill>
              <a:srgbClr val="5380A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0" name="Freeform: Shape 2245">
              <a:extLst>
                <a:ext uri="{FF2B5EF4-FFF2-40B4-BE49-F238E27FC236}">
                  <a16:creationId xmlns:a16="http://schemas.microsoft.com/office/drawing/2014/main" id="{9C46F4E1-41A7-3803-6BD7-E2509C1805CF}"/>
                </a:ext>
              </a:extLst>
            </p:cNvPr>
            <p:cNvSpPr/>
            <p:nvPr/>
          </p:nvSpPr>
          <p:spPr>
            <a:xfrm>
              <a:off x="10507753" y="2851998"/>
              <a:ext cx="379109" cy="21183"/>
            </a:xfrm>
            <a:custGeom>
              <a:avLst/>
              <a:gdLst>
                <a:gd name="connsiteX0" fmla="*/ 379109 w 379109"/>
                <a:gd name="connsiteY0" fmla="*/ 10592 h 21183"/>
                <a:gd name="connsiteX1" fmla="*/ 371074 w 379109"/>
                <a:gd name="connsiteY1" fmla="*/ 21183 h 21183"/>
                <a:gd name="connsiteX2" fmla="*/ 8035 w 379109"/>
                <a:gd name="connsiteY2" fmla="*/ 21183 h 21183"/>
                <a:gd name="connsiteX3" fmla="*/ 0 w 379109"/>
                <a:gd name="connsiteY3" fmla="*/ 10592 h 21183"/>
                <a:gd name="connsiteX4" fmla="*/ 0 w 379109"/>
                <a:gd name="connsiteY4" fmla="*/ 10592 h 21183"/>
                <a:gd name="connsiteX5" fmla="*/ 8035 w 379109"/>
                <a:gd name="connsiteY5" fmla="*/ 0 h 21183"/>
                <a:gd name="connsiteX6" fmla="*/ 371074 w 379109"/>
                <a:gd name="connsiteY6" fmla="*/ 0 h 21183"/>
                <a:gd name="connsiteX7" fmla="*/ 379109 w 379109"/>
                <a:gd name="connsiteY7" fmla="*/ 10592 h 21183"/>
                <a:gd name="connsiteX8" fmla="*/ 379109 w 379109"/>
                <a:gd name="connsiteY8" fmla="*/ 10592 h 2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109" h="21183">
                  <a:moveTo>
                    <a:pt x="379109" y="10592"/>
                  </a:moveTo>
                  <a:cubicBezTo>
                    <a:pt x="379109" y="16435"/>
                    <a:pt x="375457" y="21183"/>
                    <a:pt x="371074" y="21183"/>
                  </a:cubicBezTo>
                  <a:lnTo>
                    <a:pt x="8035" y="21183"/>
                  </a:lnTo>
                  <a:cubicBezTo>
                    <a:pt x="3652" y="21183"/>
                    <a:pt x="0" y="16435"/>
                    <a:pt x="0" y="10592"/>
                  </a:cubicBezTo>
                  <a:lnTo>
                    <a:pt x="0" y="10592"/>
                  </a:lnTo>
                  <a:cubicBezTo>
                    <a:pt x="0" y="4748"/>
                    <a:pt x="3652" y="0"/>
                    <a:pt x="8035" y="0"/>
                  </a:cubicBezTo>
                  <a:lnTo>
                    <a:pt x="371074" y="0"/>
                  </a:lnTo>
                  <a:cubicBezTo>
                    <a:pt x="375457" y="0"/>
                    <a:pt x="379109" y="4748"/>
                    <a:pt x="379109" y="10592"/>
                  </a:cubicBezTo>
                  <a:lnTo>
                    <a:pt x="379109" y="10592"/>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1" name="Freeform: Shape 2246">
              <a:extLst>
                <a:ext uri="{FF2B5EF4-FFF2-40B4-BE49-F238E27FC236}">
                  <a16:creationId xmlns:a16="http://schemas.microsoft.com/office/drawing/2014/main" id="{5C974B39-2D57-A1FE-EF3C-902F6FEAB1A4}"/>
                </a:ext>
              </a:extLst>
            </p:cNvPr>
            <p:cNvSpPr/>
            <p:nvPr/>
          </p:nvSpPr>
          <p:spPr>
            <a:xfrm>
              <a:off x="10691442" y="2458244"/>
              <a:ext cx="179350" cy="214071"/>
            </a:xfrm>
            <a:custGeom>
              <a:avLst/>
              <a:gdLst>
                <a:gd name="connsiteX0" fmla="*/ 177524 w 179350"/>
                <a:gd name="connsiteY0" fmla="*/ 212601 h 214071"/>
                <a:gd name="connsiteX1" fmla="*/ 111783 w 179350"/>
                <a:gd name="connsiteY1" fmla="*/ 214062 h 214071"/>
                <a:gd name="connsiteX2" fmla="*/ 8422 w 179350"/>
                <a:gd name="connsiteY2" fmla="*/ 191052 h 214071"/>
                <a:gd name="connsiteX3" fmla="*/ 6961 w 179350"/>
                <a:gd name="connsiteY3" fmla="*/ 23046 h 214071"/>
                <a:gd name="connsiteX4" fmla="*/ 112148 w 179350"/>
                <a:gd name="connsiteY4" fmla="*/ 37 h 214071"/>
                <a:gd name="connsiteX5" fmla="*/ 179350 w 179350"/>
                <a:gd name="connsiteY5" fmla="*/ 1498 h 214071"/>
                <a:gd name="connsiteX6" fmla="*/ 177889 w 179350"/>
                <a:gd name="connsiteY6" fmla="*/ 212235 h 214071"/>
                <a:gd name="connsiteX7" fmla="*/ 177524 w 179350"/>
                <a:gd name="connsiteY7" fmla="*/ 212235 h 21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350" h="214071">
                  <a:moveTo>
                    <a:pt x="177524" y="212601"/>
                  </a:moveTo>
                  <a:cubicBezTo>
                    <a:pt x="169854" y="212966"/>
                    <a:pt x="120183" y="214062"/>
                    <a:pt x="111783" y="214062"/>
                  </a:cubicBezTo>
                  <a:cubicBezTo>
                    <a:pt x="57728" y="214427"/>
                    <a:pt x="10614" y="204566"/>
                    <a:pt x="8422" y="191052"/>
                  </a:cubicBezTo>
                  <a:cubicBezTo>
                    <a:pt x="-2169" y="135537"/>
                    <a:pt x="-2900" y="78561"/>
                    <a:pt x="6961" y="23046"/>
                  </a:cubicBezTo>
                  <a:cubicBezTo>
                    <a:pt x="9153" y="9533"/>
                    <a:pt x="56633" y="-694"/>
                    <a:pt x="112148" y="37"/>
                  </a:cubicBezTo>
                  <a:cubicBezTo>
                    <a:pt x="120548" y="37"/>
                    <a:pt x="171315" y="767"/>
                    <a:pt x="179350" y="1498"/>
                  </a:cubicBezTo>
                  <a:cubicBezTo>
                    <a:pt x="162184" y="70891"/>
                    <a:pt x="161819" y="142842"/>
                    <a:pt x="177889" y="212235"/>
                  </a:cubicBezTo>
                  <a:lnTo>
                    <a:pt x="177524" y="212235"/>
                  </a:lnTo>
                  <a:close/>
                </a:path>
              </a:pathLst>
            </a:custGeom>
            <a:solidFill>
              <a:srgbClr val="5380A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2" name="Freeform: Shape 2247">
              <a:extLst>
                <a:ext uri="{FF2B5EF4-FFF2-40B4-BE49-F238E27FC236}">
                  <a16:creationId xmlns:a16="http://schemas.microsoft.com/office/drawing/2014/main" id="{8773638A-3CF4-9722-2E62-8BAD01D69061}"/>
                </a:ext>
              </a:extLst>
            </p:cNvPr>
            <p:cNvSpPr/>
            <p:nvPr/>
          </p:nvSpPr>
          <p:spPr>
            <a:xfrm>
              <a:off x="10852383" y="2459376"/>
              <a:ext cx="33834" cy="210737"/>
            </a:xfrm>
            <a:custGeom>
              <a:avLst/>
              <a:gdLst>
                <a:gd name="connsiteX0" fmla="*/ 24253 w 33834"/>
                <a:gd name="connsiteY0" fmla="*/ 365 h 210737"/>
                <a:gd name="connsiteX1" fmla="*/ 33749 w 33834"/>
                <a:gd name="connsiteY1" fmla="*/ 6574 h 210737"/>
                <a:gd name="connsiteX2" fmla="*/ 31923 w 33834"/>
                <a:gd name="connsiteY2" fmla="*/ 204529 h 210737"/>
                <a:gd name="connsiteX3" fmla="*/ 22426 w 33834"/>
                <a:gd name="connsiteY3" fmla="*/ 210738 h 210737"/>
                <a:gd name="connsiteX4" fmla="*/ 22426 w 33834"/>
                <a:gd name="connsiteY4" fmla="*/ 210738 h 210737"/>
                <a:gd name="connsiteX5" fmla="*/ 10374 w 33834"/>
                <a:gd name="connsiteY5" fmla="*/ 204529 h 210737"/>
                <a:gd name="connsiteX6" fmla="*/ 11835 w 33834"/>
                <a:gd name="connsiteY6" fmla="*/ 6209 h 210737"/>
                <a:gd name="connsiteX7" fmla="*/ 24253 w 33834"/>
                <a:gd name="connsiteY7" fmla="*/ 0 h 210737"/>
                <a:gd name="connsiteX8" fmla="*/ 24253 w 33834"/>
                <a:gd name="connsiteY8" fmla="*/ 0 h 210737"/>
                <a:gd name="connsiteX9" fmla="*/ 24253 w 33834"/>
                <a:gd name="connsiteY9" fmla="*/ 365 h 210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34" h="210737">
                  <a:moveTo>
                    <a:pt x="24253" y="365"/>
                  </a:moveTo>
                  <a:cubicBezTo>
                    <a:pt x="30462" y="365"/>
                    <a:pt x="34479" y="3652"/>
                    <a:pt x="33749" y="6574"/>
                  </a:cubicBezTo>
                  <a:cubicBezTo>
                    <a:pt x="18409" y="71585"/>
                    <a:pt x="18044" y="139153"/>
                    <a:pt x="31923" y="204529"/>
                  </a:cubicBezTo>
                  <a:cubicBezTo>
                    <a:pt x="32653" y="208181"/>
                    <a:pt x="28270" y="210738"/>
                    <a:pt x="22426" y="210738"/>
                  </a:cubicBezTo>
                  <a:lnTo>
                    <a:pt x="22426" y="210738"/>
                  </a:lnTo>
                  <a:cubicBezTo>
                    <a:pt x="16583" y="210738"/>
                    <a:pt x="10739" y="208181"/>
                    <a:pt x="10374" y="204529"/>
                  </a:cubicBezTo>
                  <a:cubicBezTo>
                    <a:pt x="-3870" y="139153"/>
                    <a:pt x="-3505" y="71585"/>
                    <a:pt x="11835" y="6209"/>
                  </a:cubicBezTo>
                  <a:cubicBezTo>
                    <a:pt x="12565" y="2557"/>
                    <a:pt x="18044" y="0"/>
                    <a:pt x="24253" y="0"/>
                  </a:cubicBezTo>
                  <a:lnTo>
                    <a:pt x="24253" y="0"/>
                  </a:lnTo>
                  <a:lnTo>
                    <a:pt x="24253" y="365"/>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3" name="Freeform: Shape 2248">
              <a:extLst>
                <a:ext uri="{FF2B5EF4-FFF2-40B4-BE49-F238E27FC236}">
                  <a16:creationId xmlns:a16="http://schemas.microsoft.com/office/drawing/2014/main" id="{0D0EE12A-D551-2845-501A-706E982BCAFA}"/>
                </a:ext>
              </a:extLst>
            </p:cNvPr>
            <p:cNvSpPr/>
            <p:nvPr/>
          </p:nvSpPr>
          <p:spPr>
            <a:xfrm>
              <a:off x="10831113" y="2459367"/>
              <a:ext cx="49174" cy="212207"/>
            </a:xfrm>
            <a:custGeom>
              <a:avLst/>
              <a:gdLst>
                <a:gd name="connsiteX0" fmla="*/ 47714 w 49174"/>
                <a:gd name="connsiteY0" fmla="*/ 211477 h 212207"/>
                <a:gd name="connsiteX1" fmla="*/ 33470 w 49174"/>
                <a:gd name="connsiteY1" fmla="*/ 212208 h 212207"/>
                <a:gd name="connsiteX2" fmla="*/ 7173 w 49174"/>
                <a:gd name="connsiteY2" fmla="*/ 188833 h 212207"/>
                <a:gd name="connsiteX3" fmla="*/ 7904 w 49174"/>
                <a:gd name="connsiteY3" fmla="*/ 23384 h 212207"/>
                <a:gd name="connsiteX4" fmla="*/ 34931 w 49174"/>
                <a:gd name="connsiteY4" fmla="*/ 9 h 212207"/>
                <a:gd name="connsiteX5" fmla="*/ 49175 w 49174"/>
                <a:gd name="connsiteY5" fmla="*/ 740 h 212207"/>
                <a:gd name="connsiteX6" fmla="*/ 47348 w 49174"/>
                <a:gd name="connsiteY6" fmla="*/ 211112 h 212207"/>
                <a:gd name="connsiteX7" fmla="*/ 47714 w 49174"/>
                <a:gd name="connsiteY7" fmla="*/ 211112 h 212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174" h="212207">
                  <a:moveTo>
                    <a:pt x="47714" y="211477"/>
                  </a:moveTo>
                  <a:cubicBezTo>
                    <a:pt x="47714" y="211477"/>
                    <a:pt x="35296" y="212208"/>
                    <a:pt x="33470" y="212208"/>
                  </a:cubicBezTo>
                  <a:cubicBezTo>
                    <a:pt x="21782" y="212208"/>
                    <a:pt x="9365" y="201981"/>
                    <a:pt x="7173" y="188833"/>
                  </a:cubicBezTo>
                  <a:cubicBezTo>
                    <a:pt x="-2688" y="134049"/>
                    <a:pt x="-2323" y="78168"/>
                    <a:pt x="7904" y="23384"/>
                  </a:cubicBezTo>
                  <a:cubicBezTo>
                    <a:pt x="10460" y="10236"/>
                    <a:pt x="22513" y="-356"/>
                    <a:pt x="34931" y="9"/>
                  </a:cubicBezTo>
                  <a:cubicBezTo>
                    <a:pt x="36757" y="9"/>
                    <a:pt x="48079" y="9"/>
                    <a:pt x="49175" y="740"/>
                  </a:cubicBezTo>
                  <a:cubicBezTo>
                    <a:pt x="32009" y="70133"/>
                    <a:pt x="31644" y="142084"/>
                    <a:pt x="47348" y="211112"/>
                  </a:cubicBezTo>
                  <a:lnTo>
                    <a:pt x="47714" y="211112"/>
                  </a:lnTo>
                  <a:close/>
                </a:path>
              </a:pathLst>
            </a:custGeom>
            <a:solidFill>
              <a:srgbClr val="2B5580"/>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4" name="Freeform: Shape 2249">
              <a:extLst>
                <a:ext uri="{FF2B5EF4-FFF2-40B4-BE49-F238E27FC236}">
                  <a16:creationId xmlns:a16="http://schemas.microsoft.com/office/drawing/2014/main" id="{33DA9B01-D254-E3E6-6AA5-93493277226A}"/>
                </a:ext>
              </a:extLst>
            </p:cNvPr>
            <p:cNvSpPr/>
            <p:nvPr/>
          </p:nvSpPr>
          <p:spPr>
            <a:xfrm>
              <a:off x="10787154" y="2094876"/>
              <a:ext cx="29948" cy="15339"/>
            </a:xfrm>
            <a:custGeom>
              <a:avLst/>
              <a:gdLst>
                <a:gd name="connsiteX0" fmla="*/ 0 w 29948"/>
                <a:gd name="connsiteY0" fmla="*/ 0 h 15339"/>
                <a:gd name="connsiteX1" fmla="*/ 29949 w 29948"/>
                <a:gd name="connsiteY1" fmla="*/ 0 h 15339"/>
                <a:gd name="connsiteX2" fmla="*/ 29949 w 29948"/>
                <a:gd name="connsiteY2" fmla="*/ 15340 h 15339"/>
                <a:gd name="connsiteX3" fmla="*/ 0 w 29948"/>
                <a:gd name="connsiteY3" fmla="*/ 0 h 15339"/>
              </a:gdLst>
              <a:ahLst/>
              <a:cxnLst>
                <a:cxn ang="0">
                  <a:pos x="connsiteX0" y="connsiteY0"/>
                </a:cxn>
                <a:cxn ang="0">
                  <a:pos x="connsiteX1" y="connsiteY1"/>
                </a:cxn>
                <a:cxn ang="0">
                  <a:pos x="connsiteX2" y="connsiteY2"/>
                </a:cxn>
                <a:cxn ang="0">
                  <a:pos x="connsiteX3" y="connsiteY3"/>
                </a:cxn>
              </a:cxnLst>
              <a:rect l="l" t="t" r="r" b="b"/>
              <a:pathLst>
                <a:path w="29948" h="15339">
                  <a:moveTo>
                    <a:pt x="0" y="0"/>
                  </a:moveTo>
                  <a:lnTo>
                    <a:pt x="29949" y="0"/>
                  </a:lnTo>
                  <a:lnTo>
                    <a:pt x="29949" y="15340"/>
                  </a:lnTo>
                  <a:cubicBezTo>
                    <a:pt x="23010" y="5844"/>
                    <a:pt x="12053" y="0"/>
                    <a:pt x="0" y="0"/>
                  </a:cubicBezTo>
                  <a:close/>
                </a:path>
              </a:pathLst>
            </a:custGeom>
            <a:solidFill>
              <a:srgbClr val="E2E8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5" name="Freeform: Shape 2250">
              <a:extLst>
                <a:ext uri="{FF2B5EF4-FFF2-40B4-BE49-F238E27FC236}">
                  <a16:creationId xmlns:a16="http://schemas.microsoft.com/office/drawing/2014/main" id="{333F4FF9-E9CA-25F3-6FCF-0C41A02EDCD1}"/>
                </a:ext>
              </a:extLst>
            </p:cNvPr>
            <p:cNvSpPr/>
            <p:nvPr/>
          </p:nvSpPr>
          <p:spPr>
            <a:xfrm>
              <a:off x="10684159" y="2094876"/>
              <a:ext cx="132943" cy="145361"/>
            </a:xfrm>
            <a:custGeom>
              <a:avLst/>
              <a:gdLst>
                <a:gd name="connsiteX0" fmla="*/ 93864 w 132943"/>
                <a:gd name="connsiteY0" fmla="*/ 0 h 145361"/>
                <a:gd name="connsiteX1" fmla="*/ 93864 w 132943"/>
                <a:gd name="connsiteY1" fmla="*/ 42367 h 145361"/>
                <a:gd name="connsiteX2" fmla="*/ 131118 w 132943"/>
                <a:gd name="connsiteY2" fmla="*/ 79620 h 145361"/>
                <a:gd name="connsiteX3" fmla="*/ 132944 w 132943"/>
                <a:gd name="connsiteY3" fmla="*/ 79620 h 145361"/>
                <a:gd name="connsiteX4" fmla="*/ 132944 w 132943"/>
                <a:gd name="connsiteY4" fmla="*/ 145362 h 145361"/>
                <a:gd name="connsiteX5" fmla="*/ 0 w 132943"/>
                <a:gd name="connsiteY5" fmla="*/ 145362 h 145361"/>
                <a:gd name="connsiteX6" fmla="*/ 0 w 132943"/>
                <a:gd name="connsiteY6" fmla="*/ 0 h 145361"/>
                <a:gd name="connsiteX7" fmla="*/ 93864 w 132943"/>
                <a:gd name="connsiteY7" fmla="*/ 0 h 14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943" h="145361">
                  <a:moveTo>
                    <a:pt x="93864" y="0"/>
                  </a:moveTo>
                  <a:lnTo>
                    <a:pt x="93864" y="42367"/>
                  </a:lnTo>
                  <a:cubicBezTo>
                    <a:pt x="93864" y="62820"/>
                    <a:pt x="110299" y="79620"/>
                    <a:pt x="131118" y="79620"/>
                  </a:cubicBezTo>
                  <a:lnTo>
                    <a:pt x="132944" y="79620"/>
                  </a:lnTo>
                  <a:lnTo>
                    <a:pt x="132944" y="145362"/>
                  </a:lnTo>
                  <a:lnTo>
                    <a:pt x="0" y="145362"/>
                  </a:lnTo>
                  <a:lnTo>
                    <a:pt x="0" y="0"/>
                  </a:lnTo>
                  <a:cubicBezTo>
                    <a:pt x="0" y="0"/>
                    <a:pt x="93864" y="0"/>
                    <a:pt x="93864" y="0"/>
                  </a:cubicBez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6" name="Freeform: Shape 2251">
              <a:extLst>
                <a:ext uri="{FF2B5EF4-FFF2-40B4-BE49-F238E27FC236}">
                  <a16:creationId xmlns:a16="http://schemas.microsoft.com/office/drawing/2014/main" id="{0B14BA64-9ED0-3B2D-0709-5A311C109A01}"/>
                </a:ext>
              </a:extLst>
            </p:cNvPr>
            <p:cNvSpPr/>
            <p:nvPr/>
          </p:nvSpPr>
          <p:spPr>
            <a:xfrm>
              <a:off x="10503370" y="2192017"/>
              <a:ext cx="251300" cy="295821"/>
            </a:xfrm>
            <a:custGeom>
              <a:avLst/>
              <a:gdLst>
                <a:gd name="connsiteX0" fmla="*/ 251278 w 251300"/>
                <a:gd name="connsiteY0" fmla="*/ 3663 h 295821"/>
                <a:gd name="connsiteX1" fmla="*/ 203798 w 251300"/>
                <a:gd name="connsiteY1" fmla="*/ 163999 h 295821"/>
                <a:gd name="connsiteX2" fmla="*/ 120526 w 251300"/>
                <a:gd name="connsiteY2" fmla="*/ 295117 h 295821"/>
                <a:gd name="connsiteX3" fmla="*/ 79255 w 251300"/>
                <a:gd name="connsiteY3" fmla="*/ 291099 h 295821"/>
                <a:gd name="connsiteX4" fmla="*/ 0 w 251300"/>
                <a:gd name="connsiteY4" fmla="*/ 197235 h 295821"/>
                <a:gd name="connsiteX5" fmla="*/ 42367 w 251300"/>
                <a:gd name="connsiteY5" fmla="*/ 159982 h 295821"/>
                <a:gd name="connsiteX6" fmla="*/ 50767 w 251300"/>
                <a:gd name="connsiteY6" fmla="*/ 163634 h 295821"/>
                <a:gd name="connsiteX7" fmla="*/ 63185 w 251300"/>
                <a:gd name="connsiteY7" fmla="*/ 149025 h 295821"/>
                <a:gd name="connsiteX8" fmla="*/ 136231 w 251300"/>
                <a:gd name="connsiteY8" fmla="*/ 25212 h 295821"/>
                <a:gd name="connsiteX9" fmla="*/ 251278 w 251300"/>
                <a:gd name="connsiteY9" fmla="*/ 4759 h 295821"/>
                <a:gd name="connsiteX10" fmla="*/ 251278 w 251300"/>
                <a:gd name="connsiteY10" fmla="*/ 3663 h 29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1300" h="295821">
                  <a:moveTo>
                    <a:pt x="251278" y="3663"/>
                  </a:moveTo>
                  <a:cubicBezTo>
                    <a:pt x="251278" y="3663"/>
                    <a:pt x="253835" y="14255"/>
                    <a:pt x="203798" y="163999"/>
                  </a:cubicBezTo>
                  <a:cubicBezTo>
                    <a:pt x="153762" y="313378"/>
                    <a:pt x="120526" y="295117"/>
                    <a:pt x="120526" y="295117"/>
                  </a:cubicBezTo>
                  <a:lnTo>
                    <a:pt x="79255" y="291099"/>
                  </a:lnTo>
                  <a:lnTo>
                    <a:pt x="0" y="197235"/>
                  </a:lnTo>
                  <a:lnTo>
                    <a:pt x="42367" y="159982"/>
                  </a:lnTo>
                  <a:lnTo>
                    <a:pt x="50767" y="163634"/>
                  </a:lnTo>
                  <a:cubicBezTo>
                    <a:pt x="50767" y="163634"/>
                    <a:pt x="62089" y="159251"/>
                    <a:pt x="63185" y="149025"/>
                  </a:cubicBezTo>
                  <a:cubicBezTo>
                    <a:pt x="64646" y="138798"/>
                    <a:pt x="84368" y="97527"/>
                    <a:pt x="136231" y="25212"/>
                  </a:cubicBezTo>
                  <a:cubicBezTo>
                    <a:pt x="161797" y="-10581"/>
                    <a:pt x="241052" y="1107"/>
                    <a:pt x="251278" y="4759"/>
                  </a:cubicBezTo>
                  <a:lnTo>
                    <a:pt x="251278" y="3663"/>
                  </a:lnTo>
                  <a:close/>
                </a:path>
              </a:pathLst>
            </a:custGeom>
            <a:solidFill>
              <a:schemeClr val="accent5">
                <a:lumMod val="75000"/>
              </a:schemeClr>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7" name="Freeform: Shape 2252">
              <a:extLst>
                <a:ext uri="{FF2B5EF4-FFF2-40B4-BE49-F238E27FC236}">
                  <a16:creationId xmlns:a16="http://schemas.microsoft.com/office/drawing/2014/main" id="{DB02514C-51BC-99CF-9F67-5F14190AB53F}"/>
                </a:ext>
              </a:extLst>
            </p:cNvPr>
            <p:cNvSpPr/>
            <p:nvPr/>
          </p:nvSpPr>
          <p:spPr>
            <a:xfrm>
              <a:off x="10335325" y="2330127"/>
              <a:ext cx="272958" cy="163858"/>
            </a:xfrm>
            <a:custGeom>
              <a:avLst/>
              <a:gdLst>
                <a:gd name="connsiteX0" fmla="*/ 179002 w 272958"/>
                <a:gd name="connsiteY0" fmla="*/ 60951 h 163858"/>
                <a:gd name="connsiteX1" fmla="*/ 11727 w 272958"/>
                <a:gd name="connsiteY1" fmla="*/ 11645 h 163858"/>
                <a:gd name="connsiteX2" fmla="*/ 11361 w 272958"/>
                <a:gd name="connsiteY2" fmla="*/ 49264 h 163858"/>
                <a:gd name="connsiteX3" fmla="*/ 158184 w 272958"/>
                <a:gd name="connsiteY3" fmla="*/ 162120 h 163858"/>
                <a:gd name="connsiteX4" fmla="*/ 271771 w 272958"/>
                <a:gd name="connsiteY4" fmla="*/ 138015 h 163858"/>
                <a:gd name="connsiteX5" fmla="*/ 179002 w 272958"/>
                <a:gd name="connsiteY5" fmla="*/ 60586 h 163858"/>
                <a:gd name="connsiteX6" fmla="*/ 179002 w 272958"/>
                <a:gd name="connsiteY6" fmla="*/ 60951 h 16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958" h="163858">
                  <a:moveTo>
                    <a:pt x="179002" y="60951"/>
                  </a:moveTo>
                  <a:cubicBezTo>
                    <a:pt x="179002" y="60951"/>
                    <a:pt x="76007" y="113179"/>
                    <a:pt x="11727" y="11645"/>
                  </a:cubicBezTo>
                  <a:cubicBezTo>
                    <a:pt x="-7631" y="-18669"/>
                    <a:pt x="404" y="16028"/>
                    <a:pt x="11361" y="49264"/>
                  </a:cubicBezTo>
                  <a:cubicBezTo>
                    <a:pt x="21953" y="82500"/>
                    <a:pt x="85503" y="157007"/>
                    <a:pt x="158184" y="162120"/>
                  </a:cubicBezTo>
                  <a:cubicBezTo>
                    <a:pt x="230865" y="166868"/>
                    <a:pt x="258622" y="162850"/>
                    <a:pt x="271771" y="138015"/>
                  </a:cubicBezTo>
                  <a:cubicBezTo>
                    <a:pt x="285284" y="112814"/>
                    <a:pt x="179002" y="60586"/>
                    <a:pt x="179002" y="60586"/>
                  </a:cubicBezTo>
                  <a:lnTo>
                    <a:pt x="179002" y="60951"/>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8" name="Freeform: Shape 2253">
              <a:extLst>
                <a:ext uri="{FF2B5EF4-FFF2-40B4-BE49-F238E27FC236}">
                  <a16:creationId xmlns:a16="http://schemas.microsoft.com/office/drawing/2014/main" id="{841A9911-1DDC-7ED7-802C-380E977887D8}"/>
                </a:ext>
              </a:extLst>
            </p:cNvPr>
            <p:cNvSpPr/>
            <p:nvPr/>
          </p:nvSpPr>
          <p:spPr>
            <a:xfrm>
              <a:off x="10555233" y="2343963"/>
              <a:ext cx="70124" cy="65376"/>
            </a:xfrm>
            <a:custGeom>
              <a:avLst/>
              <a:gdLst>
                <a:gd name="connsiteX0" fmla="*/ 47845 w 70124"/>
                <a:gd name="connsiteY0" fmla="*/ 23375 h 65376"/>
                <a:gd name="connsiteX1" fmla="*/ 21914 w 70124"/>
                <a:gd name="connsiteY1" fmla="*/ 6209 h 65376"/>
                <a:gd name="connsiteX2" fmla="*/ 11322 w 70124"/>
                <a:gd name="connsiteY2" fmla="*/ 0 h 65376"/>
                <a:gd name="connsiteX3" fmla="*/ 0 w 70124"/>
                <a:gd name="connsiteY3" fmla="*/ 11322 h 65376"/>
                <a:gd name="connsiteX4" fmla="*/ 21914 w 70124"/>
                <a:gd name="connsiteY4" fmla="*/ 20453 h 65376"/>
                <a:gd name="connsiteX5" fmla="*/ 45654 w 70124"/>
                <a:gd name="connsiteY5" fmla="*/ 35793 h 65376"/>
                <a:gd name="connsiteX6" fmla="*/ 70124 w 70124"/>
                <a:gd name="connsiteY6" fmla="*/ 65376 h 65376"/>
                <a:gd name="connsiteX7" fmla="*/ 48576 w 70124"/>
                <a:gd name="connsiteY7" fmla="*/ 23740 h 65376"/>
                <a:gd name="connsiteX8" fmla="*/ 47845 w 70124"/>
                <a:gd name="connsiteY8" fmla="*/ 23740 h 65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124" h="65376">
                  <a:moveTo>
                    <a:pt x="47845" y="23375"/>
                  </a:moveTo>
                  <a:lnTo>
                    <a:pt x="21914" y="6209"/>
                  </a:lnTo>
                  <a:lnTo>
                    <a:pt x="11322" y="0"/>
                  </a:lnTo>
                  <a:cubicBezTo>
                    <a:pt x="8035" y="7670"/>
                    <a:pt x="0" y="11322"/>
                    <a:pt x="0" y="11322"/>
                  </a:cubicBezTo>
                  <a:lnTo>
                    <a:pt x="21914" y="20453"/>
                  </a:lnTo>
                  <a:lnTo>
                    <a:pt x="45654" y="35793"/>
                  </a:lnTo>
                  <a:lnTo>
                    <a:pt x="70124" y="65376"/>
                  </a:lnTo>
                  <a:lnTo>
                    <a:pt x="48576" y="23740"/>
                  </a:lnTo>
                  <a:lnTo>
                    <a:pt x="47845" y="23740"/>
                  </a:lnTo>
                  <a:close/>
                </a:path>
              </a:pathLst>
            </a:custGeom>
            <a:solidFill>
              <a:schemeClr val="accent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9" name="Freeform: Shape 2254">
              <a:extLst>
                <a:ext uri="{FF2B5EF4-FFF2-40B4-BE49-F238E27FC236}">
                  <a16:creationId xmlns:a16="http://schemas.microsoft.com/office/drawing/2014/main" id="{2C6AFC15-B00D-037D-14B0-78DAB98BB830}"/>
                </a:ext>
              </a:extLst>
            </p:cNvPr>
            <p:cNvSpPr/>
            <p:nvPr/>
          </p:nvSpPr>
          <p:spPr>
            <a:xfrm>
              <a:off x="10594940" y="2160759"/>
              <a:ext cx="306820" cy="457127"/>
            </a:xfrm>
            <a:custGeom>
              <a:avLst/>
              <a:gdLst>
                <a:gd name="connsiteX0" fmla="*/ 14347 w 306820"/>
                <a:gd name="connsiteY0" fmla="*/ 456032 h 457127"/>
                <a:gd name="connsiteX1" fmla="*/ 209015 w 306820"/>
                <a:gd name="connsiteY1" fmla="*/ 452014 h 457127"/>
                <a:gd name="connsiteX2" fmla="*/ 290096 w 306820"/>
                <a:gd name="connsiteY2" fmla="*/ 181378 h 457127"/>
                <a:gd name="connsiteX3" fmla="*/ 274756 w 306820"/>
                <a:gd name="connsiteY3" fmla="*/ 33095 h 457127"/>
                <a:gd name="connsiteX4" fmla="*/ 88489 w 306820"/>
                <a:gd name="connsiteY4" fmla="*/ 28347 h 457127"/>
                <a:gd name="connsiteX5" fmla="*/ 14347 w 306820"/>
                <a:gd name="connsiteY5" fmla="*/ 457127 h 457127"/>
                <a:gd name="connsiteX6" fmla="*/ 14347 w 306820"/>
                <a:gd name="connsiteY6" fmla="*/ 456032 h 457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820" h="457127">
                  <a:moveTo>
                    <a:pt x="14347" y="456032"/>
                  </a:moveTo>
                  <a:lnTo>
                    <a:pt x="209015" y="452014"/>
                  </a:lnTo>
                  <a:lnTo>
                    <a:pt x="290096" y="181378"/>
                  </a:lnTo>
                  <a:cubicBezTo>
                    <a:pt x="290096" y="181378"/>
                    <a:pt x="336480" y="64870"/>
                    <a:pt x="274756" y="33095"/>
                  </a:cubicBezTo>
                  <a:cubicBezTo>
                    <a:pt x="137064" y="-38490"/>
                    <a:pt x="88489" y="28347"/>
                    <a:pt x="88489" y="28347"/>
                  </a:cubicBezTo>
                  <a:cubicBezTo>
                    <a:pt x="88489" y="28347"/>
                    <a:pt x="-42629" y="72540"/>
                    <a:pt x="14347" y="457127"/>
                  </a:cubicBezTo>
                  <a:lnTo>
                    <a:pt x="14347" y="456032"/>
                  </a:lnTo>
                  <a:close/>
                </a:path>
              </a:pathLst>
            </a:custGeom>
            <a:solidFill>
              <a:schemeClr val="accent5">
                <a:lumMod val="75000"/>
              </a:schemeClr>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0" name="Freeform: Shape 2255">
              <a:extLst>
                <a:ext uri="{FF2B5EF4-FFF2-40B4-BE49-F238E27FC236}">
                  <a16:creationId xmlns:a16="http://schemas.microsoft.com/office/drawing/2014/main" id="{084DF45F-84BC-AAAB-658A-630D1220CB82}"/>
                </a:ext>
              </a:extLst>
            </p:cNvPr>
            <p:cNvSpPr/>
            <p:nvPr/>
          </p:nvSpPr>
          <p:spPr>
            <a:xfrm>
              <a:off x="10651508" y="2181071"/>
              <a:ext cx="62235" cy="424397"/>
            </a:xfrm>
            <a:custGeom>
              <a:avLst/>
              <a:gdLst>
                <a:gd name="connsiteX0" fmla="*/ 27538 w 62235"/>
                <a:gd name="connsiteY0" fmla="*/ 421110 h 424397"/>
                <a:gd name="connsiteX1" fmla="*/ 4529 w 62235"/>
                <a:gd name="connsiteY1" fmla="*/ 424397 h 424397"/>
                <a:gd name="connsiteX2" fmla="*/ 43609 w 62235"/>
                <a:gd name="connsiteY2" fmla="*/ 0 h 424397"/>
                <a:gd name="connsiteX3" fmla="*/ 62235 w 62235"/>
                <a:gd name="connsiteY3" fmla="*/ 6209 h 424397"/>
                <a:gd name="connsiteX4" fmla="*/ 27904 w 62235"/>
                <a:gd name="connsiteY4" fmla="*/ 421110 h 424397"/>
                <a:gd name="connsiteX5" fmla="*/ 27538 w 62235"/>
                <a:gd name="connsiteY5" fmla="*/ 421110 h 42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235" h="424397">
                  <a:moveTo>
                    <a:pt x="27538" y="421110"/>
                  </a:moveTo>
                  <a:cubicBezTo>
                    <a:pt x="19869" y="422571"/>
                    <a:pt x="12199" y="423302"/>
                    <a:pt x="4529" y="424397"/>
                  </a:cubicBezTo>
                  <a:cubicBezTo>
                    <a:pt x="-7889" y="281958"/>
                    <a:pt x="5259" y="137326"/>
                    <a:pt x="43609" y="0"/>
                  </a:cubicBezTo>
                  <a:cubicBezTo>
                    <a:pt x="49817" y="2191"/>
                    <a:pt x="56026" y="4017"/>
                    <a:pt x="62235" y="6209"/>
                  </a:cubicBezTo>
                  <a:cubicBezTo>
                    <a:pt x="26077" y="140979"/>
                    <a:pt x="14390" y="282323"/>
                    <a:pt x="27904" y="421110"/>
                  </a:cubicBezTo>
                  <a:lnTo>
                    <a:pt x="27538" y="421110"/>
                  </a:lnTo>
                  <a:close/>
                </a:path>
              </a:pathLst>
            </a:custGeom>
            <a:solidFill>
              <a:schemeClr val="accent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1" name="Freeform: Shape 2256">
              <a:extLst>
                <a:ext uri="{FF2B5EF4-FFF2-40B4-BE49-F238E27FC236}">
                  <a16:creationId xmlns:a16="http://schemas.microsoft.com/office/drawing/2014/main" id="{545741C6-3F54-A45F-E248-A2B9DD8E4856}"/>
                </a:ext>
              </a:extLst>
            </p:cNvPr>
            <p:cNvSpPr/>
            <p:nvPr/>
          </p:nvSpPr>
          <p:spPr>
            <a:xfrm>
              <a:off x="10287519" y="2727090"/>
              <a:ext cx="93133" cy="482061"/>
            </a:xfrm>
            <a:custGeom>
              <a:avLst/>
              <a:gdLst>
                <a:gd name="connsiteX0" fmla="*/ 1461 w 93133"/>
                <a:gd name="connsiteY0" fmla="*/ 464938 h 482061"/>
                <a:gd name="connsiteX1" fmla="*/ 29949 w 93133"/>
                <a:gd name="connsiteY1" fmla="*/ 476260 h 482061"/>
                <a:gd name="connsiteX2" fmla="*/ 86925 w 93133"/>
                <a:gd name="connsiteY2" fmla="*/ 183346 h 482061"/>
                <a:gd name="connsiteX3" fmla="*/ 93134 w 93133"/>
                <a:gd name="connsiteY3" fmla="*/ 33966 h 482061"/>
                <a:gd name="connsiteX4" fmla="*/ 0 w 93133"/>
                <a:gd name="connsiteY4" fmla="*/ 0 h 482061"/>
                <a:gd name="connsiteX5" fmla="*/ 1461 w 93133"/>
                <a:gd name="connsiteY5" fmla="*/ 464573 h 482061"/>
                <a:gd name="connsiteX6" fmla="*/ 1461 w 93133"/>
                <a:gd name="connsiteY6" fmla="*/ 464938 h 48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133" h="482061">
                  <a:moveTo>
                    <a:pt x="1461" y="464938"/>
                  </a:moveTo>
                  <a:cubicBezTo>
                    <a:pt x="1461" y="464938"/>
                    <a:pt x="20088" y="494156"/>
                    <a:pt x="29949" y="476260"/>
                  </a:cubicBezTo>
                  <a:cubicBezTo>
                    <a:pt x="59167" y="422571"/>
                    <a:pt x="85099" y="252739"/>
                    <a:pt x="86925" y="183346"/>
                  </a:cubicBezTo>
                  <a:cubicBezTo>
                    <a:pt x="89116" y="90577"/>
                    <a:pt x="93134" y="33966"/>
                    <a:pt x="93134" y="33966"/>
                  </a:cubicBezTo>
                  <a:lnTo>
                    <a:pt x="0" y="0"/>
                  </a:lnTo>
                  <a:lnTo>
                    <a:pt x="1461" y="464573"/>
                  </a:lnTo>
                  <a:lnTo>
                    <a:pt x="1461" y="464938"/>
                  </a:lnTo>
                  <a:close/>
                </a:path>
              </a:pathLst>
            </a:custGeom>
            <a:solidFill>
              <a:srgbClr val="1E3341"/>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2" name="Freeform: Shape 2257">
              <a:extLst>
                <a:ext uri="{FF2B5EF4-FFF2-40B4-BE49-F238E27FC236}">
                  <a16:creationId xmlns:a16="http://schemas.microsoft.com/office/drawing/2014/main" id="{D401F772-91D2-8C0B-8515-5DFD5686A49F}"/>
                </a:ext>
              </a:extLst>
            </p:cNvPr>
            <p:cNvSpPr/>
            <p:nvPr/>
          </p:nvSpPr>
          <p:spPr>
            <a:xfrm>
              <a:off x="10286423" y="2614248"/>
              <a:ext cx="432219" cy="175793"/>
            </a:xfrm>
            <a:custGeom>
              <a:avLst/>
              <a:gdLst>
                <a:gd name="connsiteX0" fmla="*/ 329438 w 432219"/>
                <a:gd name="connsiteY0" fmla="*/ 1082 h 175793"/>
                <a:gd name="connsiteX1" fmla="*/ 0 w 432219"/>
                <a:gd name="connsiteY1" fmla="*/ 113573 h 175793"/>
                <a:gd name="connsiteX2" fmla="*/ 86560 w 432219"/>
                <a:gd name="connsiteY2" fmla="*/ 161783 h 175793"/>
                <a:gd name="connsiteX3" fmla="*/ 432067 w 432219"/>
                <a:gd name="connsiteY3" fmla="*/ 94946 h 175793"/>
                <a:gd name="connsiteX4" fmla="*/ 329072 w 432219"/>
                <a:gd name="connsiteY4" fmla="*/ 351 h 175793"/>
                <a:gd name="connsiteX5" fmla="*/ 329438 w 432219"/>
                <a:gd name="connsiteY5" fmla="*/ 351 h 17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2219" h="175793">
                  <a:moveTo>
                    <a:pt x="329438" y="1082"/>
                  </a:moveTo>
                  <a:lnTo>
                    <a:pt x="0" y="113573"/>
                  </a:lnTo>
                  <a:lnTo>
                    <a:pt x="86560" y="161783"/>
                  </a:lnTo>
                  <a:cubicBezTo>
                    <a:pt x="86560" y="161783"/>
                    <a:pt x="426224" y="221315"/>
                    <a:pt x="432067" y="94946"/>
                  </a:cubicBezTo>
                  <a:cubicBezTo>
                    <a:pt x="436815" y="-10971"/>
                    <a:pt x="329072" y="351"/>
                    <a:pt x="329072" y="351"/>
                  </a:cubicBezTo>
                  <a:lnTo>
                    <a:pt x="329438" y="351"/>
                  </a:lnTo>
                  <a:close/>
                </a:path>
              </a:pathLst>
            </a:custGeom>
            <a:solidFill>
              <a:srgbClr val="1E3341"/>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3" name="Freeform: Shape 2258">
              <a:extLst>
                <a:ext uri="{FF2B5EF4-FFF2-40B4-BE49-F238E27FC236}">
                  <a16:creationId xmlns:a16="http://schemas.microsoft.com/office/drawing/2014/main" id="{AE09F79D-5A42-47B4-B7D8-A5A5072165A3}"/>
                </a:ext>
              </a:extLst>
            </p:cNvPr>
            <p:cNvSpPr/>
            <p:nvPr/>
          </p:nvSpPr>
          <p:spPr>
            <a:xfrm>
              <a:off x="10402202" y="2736586"/>
              <a:ext cx="108687" cy="464737"/>
            </a:xfrm>
            <a:custGeom>
              <a:avLst/>
              <a:gdLst>
                <a:gd name="connsiteX0" fmla="*/ 3287 w 108687"/>
                <a:gd name="connsiteY0" fmla="*/ 458364 h 464737"/>
                <a:gd name="connsiteX1" fmla="*/ 30314 w 108687"/>
                <a:gd name="connsiteY1" fmla="*/ 456172 h 464737"/>
                <a:gd name="connsiteX2" fmla="*/ 108473 w 108687"/>
                <a:gd name="connsiteY2" fmla="*/ 190285 h 464737"/>
                <a:gd name="connsiteX3" fmla="*/ 95325 w 108687"/>
                <a:gd name="connsiteY3" fmla="*/ 33236 h 464737"/>
                <a:gd name="connsiteX4" fmla="*/ 0 w 108687"/>
                <a:gd name="connsiteY4" fmla="*/ 0 h 464737"/>
                <a:gd name="connsiteX5" fmla="*/ 3652 w 108687"/>
                <a:gd name="connsiteY5" fmla="*/ 458364 h 464737"/>
                <a:gd name="connsiteX6" fmla="*/ 3287 w 108687"/>
                <a:gd name="connsiteY6" fmla="*/ 458364 h 464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7" h="464737">
                  <a:moveTo>
                    <a:pt x="3287" y="458364"/>
                  </a:moveTo>
                  <a:cubicBezTo>
                    <a:pt x="3287" y="458364"/>
                    <a:pt x="20453" y="474069"/>
                    <a:pt x="30314" y="456172"/>
                  </a:cubicBezTo>
                  <a:cubicBezTo>
                    <a:pt x="59532" y="402484"/>
                    <a:pt x="107012" y="259679"/>
                    <a:pt x="108473" y="190285"/>
                  </a:cubicBezTo>
                  <a:cubicBezTo>
                    <a:pt x="110665" y="97516"/>
                    <a:pt x="95325" y="33236"/>
                    <a:pt x="95325" y="33236"/>
                  </a:cubicBezTo>
                  <a:lnTo>
                    <a:pt x="0" y="0"/>
                  </a:lnTo>
                  <a:lnTo>
                    <a:pt x="3652" y="458364"/>
                  </a:lnTo>
                  <a:lnTo>
                    <a:pt x="3287" y="458364"/>
                  </a:lnTo>
                  <a:close/>
                </a:path>
              </a:pathLst>
            </a:custGeom>
            <a:solidFill>
              <a:srgbClr val="283C4A"/>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4" name="Freeform: Shape 2259">
              <a:extLst>
                <a:ext uri="{FF2B5EF4-FFF2-40B4-BE49-F238E27FC236}">
                  <a16:creationId xmlns:a16="http://schemas.microsoft.com/office/drawing/2014/main" id="{23BD62B6-4F18-9D7E-227D-E99F41CFF9AC}"/>
                </a:ext>
              </a:extLst>
            </p:cNvPr>
            <p:cNvSpPr/>
            <p:nvPr/>
          </p:nvSpPr>
          <p:spPr>
            <a:xfrm>
              <a:off x="10404393" y="2616842"/>
              <a:ext cx="411153" cy="181683"/>
            </a:xfrm>
            <a:custGeom>
              <a:avLst/>
              <a:gdLst>
                <a:gd name="connsiteX0" fmla="*/ 313733 w 411153"/>
                <a:gd name="connsiteY0" fmla="*/ 1775 h 181683"/>
                <a:gd name="connsiteX1" fmla="*/ 0 w 411153"/>
                <a:gd name="connsiteY1" fmla="*/ 120475 h 181683"/>
                <a:gd name="connsiteX2" fmla="*/ 85829 w 411153"/>
                <a:gd name="connsiteY2" fmla="*/ 167589 h 181683"/>
                <a:gd name="connsiteX3" fmla="*/ 410884 w 411153"/>
                <a:gd name="connsiteY3" fmla="*/ 101483 h 181683"/>
                <a:gd name="connsiteX4" fmla="*/ 314098 w 411153"/>
                <a:gd name="connsiteY4" fmla="*/ 2505 h 181683"/>
                <a:gd name="connsiteX5" fmla="*/ 313733 w 411153"/>
                <a:gd name="connsiteY5" fmla="*/ 1775 h 18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1153" h="181683">
                  <a:moveTo>
                    <a:pt x="313733" y="1775"/>
                  </a:moveTo>
                  <a:lnTo>
                    <a:pt x="0" y="120475"/>
                  </a:lnTo>
                  <a:lnTo>
                    <a:pt x="85829" y="167589"/>
                  </a:lnTo>
                  <a:cubicBezTo>
                    <a:pt x="85829" y="167589"/>
                    <a:pt x="404675" y="227122"/>
                    <a:pt x="410884" y="101483"/>
                  </a:cubicBezTo>
                  <a:cubicBezTo>
                    <a:pt x="417093" y="-24887"/>
                    <a:pt x="314098" y="2505"/>
                    <a:pt x="314098" y="2505"/>
                  </a:cubicBezTo>
                  <a:lnTo>
                    <a:pt x="313733" y="1775"/>
                  </a:lnTo>
                  <a:close/>
                </a:path>
              </a:pathLst>
            </a:custGeom>
            <a:solidFill>
              <a:srgbClr val="283C4A"/>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5" name="Freeform: Shape 2260">
              <a:extLst>
                <a:ext uri="{FF2B5EF4-FFF2-40B4-BE49-F238E27FC236}">
                  <a16:creationId xmlns:a16="http://schemas.microsoft.com/office/drawing/2014/main" id="{A6E93745-7B32-665E-9934-60DBFBE8F099}"/>
                </a:ext>
              </a:extLst>
            </p:cNvPr>
            <p:cNvSpPr/>
            <p:nvPr/>
          </p:nvSpPr>
          <p:spPr>
            <a:xfrm>
              <a:off x="10608557" y="2610581"/>
              <a:ext cx="212564" cy="188949"/>
            </a:xfrm>
            <a:custGeom>
              <a:avLst/>
              <a:gdLst>
                <a:gd name="connsiteX0" fmla="*/ 212199 w 212564"/>
                <a:gd name="connsiteY0" fmla="*/ 113952 h 188949"/>
                <a:gd name="connsiteX1" fmla="*/ 198320 w 212564"/>
                <a:gd name="connsiteY1" fmla="*/ 163258 h 188949"/>
                <a:gd name="connsiteX2" fmla="*/ 42001 w 212564"/>
                <a:gd name="connsiteY2" fmla="*/ 186998 h 188949"/>
                <a:gd name="connsiteX3" fmla="*/ 23375 w 212564"/>
                <a:gd name="connsiteY3" fmla="*/ 143170 h 188949"/>
                <a:gd name="connsiteX4" fmla="*/ 0 w 212564"/>
                <a:gd name="connsiteY4" fmla="*/ 0 h 188949"/>
                <a:gd name="connsiteX5" fmla="*/ 196859 w 212564"/>
                <a:gd name="connsiteY5" fmla="*/ 3287 h 188949"/>
                <a:gd name="connsiteX6" fmla="*/ 212564 w 212564"/>
                <a:gd name="connsiteY6" fmla="*/ 113952 h 188949"/>
                <a:gd name="connsiteX7" fmla="*/ 212199 w 212564"/>
                <a:gd name="connsiteY7" fmla="*/ 113952 h 188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2564" h="188949">
                  <a:moveTo>
                    <a:pt x="212199" y="113952"/>
                  </a:moveTo>
                  <a:cubicBezTo>
                    <a:pt x="212929" y="122352"/>
                    <a:pt x="207816" y="151571"/>
                    <a:pt x="198320" y="163258"/>
                  </a:cubicBezTo>
                  <a:cubicBezTo>
                    <a:pt x="168736" y="199050"/>
                    <a:pt x="97882" y="186998"/>
                    <a:pt x="42001" y="186998"/>
                  </a:cubicBezTo>
                  <a:cubicBezTo>
                    <a:pt x="38714" y="186998"/>
                    <a:pt x="23375" y="143170"/>
                    <a:pt x="23375" y="143170"/>
                  </a:cubicBezTo>
                  <a:lnTo>
                    <a:pt x="0" y="0"/>
                  </a:lnTo>
                  <a:lnTo>
                    <a:pt x="196859" y="3287"/>
                  </a:lnTo>
                  <a:cubicBezTo>
                    <a:pt x="196859" y="3287"/>
                    <a:pt x="205259" y="41271"/>
                    <a:pt x="212564" y="113952"/>
                  </a:cubicBezTo>
                  <a:lnTo>
                    <a:pt x="212199" y="113952"/>
                  </a:lnTo>
                  <a:close/>
                </a:path>
              </a:pathLst>
            </a:custGeom>
            <a:solidFill>
              <a:srgbClr val="283C4A"/>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6" name="Freeform: Shape 2261">
              <a:extLst>
                <a:ext uri="{FF2B5EF4-FFF2-40B4-BE49-F238E27FC236}">
                  <a16:creationId xmlns:a16="http://schemas.microsoft.com/office/drawing/2014/main" id="{53B63001-BFB8-8A9D-B9D4-A3DA6988E528}"/>
                </a:ext>
              </a:extLst>
            </p:cNvPr>
            <p:cNvSpPr/>
            <p:nvPr/>
          </p:nvSpPr>
          <p:spPr>
            <a:xfrm>
              <a:off x="10416662" y="2514057"/>
              <a:ext cx="84517" cy="53427"/>
            </a:xfrm>
            <a:custGeom>
              <a:avLst/>
              <a:gdLst>
                <a:gd name="connsiteX0" fmla="*/ 83787 w 84517"/>
                <a:gd name="connsiteY0" fmla="*/ 13252 h 53427"/>
                <a:gd name="connsiteX1" fmla="*/ 11837 w 84517"/>
                <a:gd name="connsiteY1" fmla="*/ 104 h 53427"/>
                <a:gd name="connsiteX2" fmla="*/ 149 w 84517"/>
                <a:gd name="connsiteY2" fmla="*/ 6678 h 53427"/>
                <a:gd name="connsiteX3" fmla="*/ 1610 w 84517"/>
                <a:gd name="connsiteY3" fmla="*/ 50140 h 53427"/>
                <a:gd name="connsiteX4" fmla="*/ 14758 w 84517"/>
                <a:gd name="connsiteY4" fmla="*/ 42105 h 53427"/>
                <a:gd name="connsiteX5" fmla="*/ 33020 w 84517"/>
                <a:gd name="connsiteY5" fmla="*/ 53428 h 53427"/>
                <a:gd name="connsiteX6" fmla="*/ 54568 w 84517"/>
                <a:gd name="connsiteY6" fmla="*/ 24940 h 53427"/>
                <a:gd name="connsiteX7" fmla="*/ 75021 w 84517"/>
                <a:gd name="connsiteY7" fmla="*/ 24940 h 53427"/>
                <a:gd name="connsiteX8" fmla="*/ 84517 w 84517"/>
                <a:gd name="connsiteY8" fmla="*/ 12887 h 53427"/>
                <a:gd name="connsiteX9" fmla="*/ 83787 w 84517"/>
                <a:gd name="connsiteY9" fmla="*/ 13252 h 53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517" h="53427">
                  <a:moveTo>
                    <a:pt x="83787" y="13252"/>
                  </a:moveTo>
                  <a:lnTo>
                    <a:pt x="11837" y="104"/>
                  </a:lnTo>
                  <a:cubicBezTo>
                    <a:pt x="11837" y="104"/>
                    <a:pt x="514" y="-1357"/>
                    <a:pt x="149" y="6678"/>
                  </a:cubicBezTo>
                  <a:cubicBezTo>
                    <a:pt x="-581" y="16904"/>
                    <a:pt x="1610" y="50140"/>
                    <a:pt x="1610" y="50140"/>
                  </a:cubicBezTo>
                  <a:lnTo>
                    <a:pt x="14758" y="42105"/>
                  </a:lnTo>
                  <a:lnTo>
                    <a:pt x="33020" y="53428"/>
                  </a:lnTo>
                  <a:lnTo>
                    <a:pt x="54568" y="24940"/>
                  </a:lnTo>
                  <a:cubicBezTo>
                    <a:pt x="54568" y="24940"/>
                    <a:pt x="65891" y="27131"/>
                    <a:pt x="75021" y="24940"/>
                  </a:cubicBezTo>
                  <a:cubicBezTo>
                    <a:pt x="78308" y="24209"/>
                    <a:pt x="84517" y="12887"/>
                    <a:pt x="84517" y="12887"/>
                  </a:cubicBezTo>
                  <a:lnTo>
                    <a:pt x="83787" y="13252"/>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7" name="Freeform: Shape 2262">
              <a:extLst>
                <a:ext uri="{FF2B5EF4-FFF2-40B4-BE49-F238E27FC236}">
                  <a16:creationId xmlns:a16="http://schemas.microsoft.com/office/drawing/2014/main" id="{1FC40269-E8F4-AB02-0064-5D93CAD3E8CA}"/>
                </a:ext>
              </a:extLst>
            </p:cNvPr>
            <p:cNvSpPr/>
            <p:nvPr/>
          </p:nvSpPr>
          <p:spPr>
            <a:xfrm>
              <a:off x="10486570" y="2506856"/>
              <a:ext cx="239956" cy="74141"/>
            </a:xfrm>
            <a:custGeom>
              <a:avLst/>
              <a:gdLst>
                <a:gd name="connsiteX0" fmla="*/ 190650 w 239956"/>
                <a:gd name="connsiteY0" fmla="*/ 0 h 74141"/>
                <a:gd name="connsiteX1" fmla="*/ 0 w 239956"/>
                <a:gd name="connsiteY1" fmla="*/ 21183 h 74141"/>
                <a:gd name="connsiteX2" fmla="*/ 149014 w 239956"/>
                <a:gd name="connsiteY2" fmla="*/ 74142 h 74141"/>
                <a:gd name="connsiteX3" fmla="*/ 239956 w 239956"/>
                <a:gd name="connsiteY3" fmla="*/ 63915 h 74141"/>
                <a:gd name="connsiteX4" fmla="*/ 190650 w 239956"/>
                <a:gd name="connsiteY4" fmla="*/ 0 h 74141"/>
                <a:gd name="connsiteX5" fmla="*/ 190650 w 239956"/>
                <a:gd name="connsiteY5" fmla="*/ 0 h 74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956" h="74141">
                  <a:moveTo>
                    <a:pt x="190650" y="0"/>
                  </a:moveTo>
                  <a:lnTo>
                    <a:pt x="0" y="21183"/>
                  </a:lnTo>
                  <a:cubicBezTo>
                    <a:pt x="0" y="21183"/>
                    <a:pt x="102630" y="73411"/>
                    <a:pt x="149014" y="74142"/>
                  </a:cubicBezTo>
                  <a:cubicBezTo>
                    <a:pt x="196129" y="74142"/>
                    <a:pt x="239956" y="63915"/>
                    <a:pt x="239956" y="63915"/>
                  </a:cubicBezTo>
                  <a:lnTo>
                    <a:pt x="190650" y="0"/>
                  </a:lnTo>
                  <a:lnTo>
                    <a:pt x="190650" y="0"/>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8" name="Freeform: Shape 2263">
              <a:extLst>
                <a:ext uri="{FF2B5EF4-FFF2-40B4-BE49-F238E27FC236}">
                  <a16:creationId xmlns:a16="http://schemas.microsoft.com/office/drawing/2014/main" id="{526A67C2-C569-FB4A-4BAE-6E7334F15BBC}"/>
                </a:ext>
              </a:extLst>
            </p:cNvPr>
            <p:cNvSpPr/>
            <p:nvPr/>
          </p:nvSpPr>
          <p:spPr>
            <a:xfrm>
              <a:off x="10667359" y="2197728"/>
              <a:ext cx="234241" cy="379616"/>
            </a:xfrm>
            <a:custGeom>
              <a:avLst/>
              <a:gdLst>
                <a:gd name="connsiteX0" fmla="*/ 104456 w 234241"/>
                <a:gd name="connsiteY0" fmla="*/ 111173 h 379616"/>
                <a:gd name="connsiteX1" fmla="*/ 9131 w 234241"/>
                <a:gd name="connsiteY1" fmla="*/ 291597 h 379616"/>
                <a:gd name="connsiteX2" fmla="*/ 14609 w 234241"/>
                <a:gd name="connsiteY2" fmla="*/ 306206 h 379616"/>
                <a:gd name="connsiteX3" fmla="*/ 0 w 234241"/>
                <a:gd name="connsiteY3" fmla="*/ 308762 h 379616"/>
                <a:gd name="connsiteX4" fmla="*/ 44193 w 234241"/>
                <a:gd name="connsiteY4" fmla="*/ 379617 h 379616"/>
                <a:gd name="connsiteX5" fmla="*/ 113952 w 234241"/>
                <a:gd name="connsiteY5" fmla="*/ 363547 h 379616"/>
                <a:gd name="connsiteX6" fmla="*/ 222425 w 234241"/>
                <a:gd name="connsiteY6" fmla="*/ 117747 h 379616"/>
                <a:gd name="connsiteX7" fmla="*/ 184076 w 234241"/>
                <a:gd name="connsiteY7" fmla="*/ 508 h 379616"/>
                <a:gd name="connsiteX8" fmla="*/ 104091 w 234241"/>
                <a:gd name="connsiteY8" fmla="*/ 111173 h 379616"/>
                <a:gd name="connsiteX9" fmla="*/ 104456 w 234241"/>
                <a:gd name="connsiteY9" fmla="*/ 111173 h 379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241" h="379616">
                  <a:moveTo>
                    <a:pt x="104456" y="111173"/>
                  </a:moveTo>
                  <a:lnTo>
                    <a:pt x="9131" y="291597"/>
                  </a:lnTo>
                  <a:lnTo>
                    <a:pt x="14609" y="306206"/>
                  </a:lnTo>
                  <a:lnTo>
                    <a:pt x="0" y="308762"/>
                  </a:lnTo>
                  <a:lnTo>
                    <a:pt x="44193" y="379617"/>
                  </a:lnTo>
                  <a:lnTo>
                    <a:pt x="113952" y="363547"/>
                  </a:lnTo>
                  <a:lnTo>
                    <a:pt x="222425" y="117747"/>
                  </a:lnTo>
                  <a:cubicBezTo>
                    <a:pt x="222425" y="117747"/>
                    <a:pt x="266618" y="-8988"/>
                    <a:pt x="184076" y="508"/>
                  </a:cubicBezTo>
                  <a:cubicBezTo>
                    <a:pt x="161067" y="3065"/>
                    <a:pt x="112491" y="96198"/>
                    <a:pt x="104091" y="111173"/>
                  </a:cubicBezTo>
                  <a:lnTo>
                    <a:pt x="104456" y="111173"/>
                  </a:lnTo>
                  <a:close/>
                </a:path>
              </a:pathLst>
            </a:custGeom>
            <a:solidFill>
              <a:schemeClr val="accent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9" name="Freeform: Shape 2264">
              <a:extLst>
                <a:ext uri="{FF2B5EF4-FFF2-40B4-BE49-F238E27FC236}">
                  <a16:creationId xmlns:a16="http://schemas.microsoft.com/office/drawing/2014/main" id="{8F59B741-6C9E-0DDB-8FA8-BBA8EACAFFF6}"/>
                </a:ext>
              </a:extLst>
            </p:cNvPr>
            <p:cNvSpPr/>
            <p:nvPr/>
          </p:nvSpPr>
          <p:spPr>
            <a:xfrm>
              <a:off x="10667359" y="2497725"/>
              <a:ext cx="80716" cy="64280"/>
            </a:xfrm>
            <a:custGeom>
              <a:avLst/>
              <a:gdLst>
                <a:gd name="connsiteX0" fmla="*/ 80351 w 80716"/>
                <a:gd name="connsiteY0" fmla="*/ 53324 h 64280"/>
                <a:gd name="connsiteX1" fmla="*/ 12418 w 80716"/>
                <a:gd name="connsiteY1" fmla="*/ 0 h 64280"/>
                <a:gd name="connsiteX2" fmla="*/ 14609 w 80716"/>
                <a:gd name="connsiteY2" fmla="*/ 6209 h 64280"/>
                <a:gd name="connsiteX3" fmla="*/ 0 w 80716"/>
                <a:gd name="connsiteY3" fmla="*/ 8766 h 64280"/>
                <a:gd name="connsiteX4" fmla="*/ 15705 w 80716"/>
                <a:gd name="connsiteY4" fmla="*/ 32871 h 64280"/>
                <a:gd name="connsiteX5" fmla="*/ 42732 w 80716"/>
                <a:gd name="connsiteY5" fmla="*/ 64281 h 64280"/>
                <a:gd name="connsiteX6" fmla="*/ 58437 w 80716"/>
                <a:gd name="connsiteY6" fmla="*/ 58437 h 64280"/>
                <a:gd name="connsiteX7" fmla="*/ 52593 w 80716"/>
                <a:gd name="connsiteY7" fmla="*/ 47115 h 64280"/>
                <a:gd name="connsiteX8" fmla="*/ 80716 w 80716"/>
                <a:gd name="connsiteY8" fmla="*/ 51863 h 64280"/>
                <a:gd name="connsiteX9" fmla="*/ 80351 w 80716"/>
                <a:gd name="connsiteY9" fmla="*/ 53324 h 64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716" h="64280">
                  <a:moveTo>
                    <a:pt x="80351" y="53324"/>
                  </a:moveTo>
                  <a:cubicBezTo>
                    <a:pt x="80351" y="53324"/>
                    <a:pt x="35062" y="18992"/>
                    <a:pt x="12418" y="0"/>
                  </a:cubicBezTo>
                  <a:lnTo>
                    <a:pt x="14609" y="6209"/>
                  </a:lnTo>
                  <a:lnTo>
                    <a:pt x="0" y="8766"/>
                  </a:lnTo>
                  <a:lnTo>
                    <a:pt x="15705" y="32871"/>
                  </a:lnTo>
                  <a:lnTo>
                    <a:pt x="42732" y="64281"/>
                  </a:lnTo>
                  <a:lnTo>
                    <a:pt x="58437" y="58437"/>
                  </a:lnTo>
                  <a:lnTo>
                    <a:pt x="52593" y="47115"/>
                  </a:lnTo>
                  <a:lnTo>
                    <a:pt x="80716" y="51863"/>
                  </a:lnTo>
                  <a:lnTo>
                    <a:pt x="80351" y="53324"/>
                  </a:lnTo>
                  <a:close/>
                </a:path>
              </a:pathLst>
            </a:custGeom>
            <a:solidFill>
              <a:schemeClr val="accent5">
                <a:lumMod val="75000"/>
              </a:schemeClr>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0" name="Freeform: Shape 2266">
              <a:extLst>
                <a:ext uri="{FF2B5EF4-FFF2-40B4-BE49-F238E27FC236}">
                  <a16:creationId xmlns:a16="http://schemas.microsoft.com/office/drawing/2014/main" id="{6A1CB9B8-553B-92C1-A2F0-0ADE37B17B12}"/>
                </a:ext>
              </a:extLst>
            </p:cNvPr>
            <p:cNvSpPr/>
            <p:nvPr/>
          </p:nvSpPr>
          <p:spPr>
            <a:xfrm>
              <a:off x="10672694" y="2009329"/>
              <a:ext cx="137918" cy="56046"/>
            </a:xfrm>
            <a:custGeom>
              <a:avLst/>
              <a:gdLst>
                <a:gd name="connsiteX0" fmla="*/ 143 w 137918"/>
                <a:gd name="connsiteY0" fmla="*/ 34050 h 56046"/>
                <a:gd name="connsiteX1" fmla="*/ 26075 w 137918"/>
                <a:gd name="connsiteY1" fmla="*/ 55963 h 56046"/>
                <a:gd name="connsiteX2" fmla="*/ 115922 w 137918"/>
                <a:gd name="connsiteY2" fmla="*/ 47928 h 56046"/>
                <a:gd name="connsiteX3" fmla="*/ 137835 w 137918"/>
                <a:gd name="connsiteY3" fmla="*/ 21997 h 56046"/>
                <a:gd name="connsiteX4" fmla="*/ 137835 w 137918"/>
                <a:gd name="connsiteY4" fmla="*/ 21997 h 56046"/>
                <a:gd name="connsiteX5" fmla="*/ 111904 w 137918"/>
                <a:gd name="connsiteY5" fmla="*/ 83 h 56046"/>
                <a:gd name="connsiteX6" fmla="*/ 22057 w 137918"/>
                <a:gd name="connsiteY6" fmla="*/ 8118 h 56046"/>
                <a:gd name="connsiteX7" fmla="*/ 143 w 137918"/>
                <a:gd name="connsiteY7" fmla="*/ 34050 h 56046"/>
                <a:gd name="connsiteX8" fmla="*/ 143 w 137918"/>
                <a:gd name="connsiteY8" fmla="*/ 34050 h 5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918" h="56046">
                  <a:moveTo>
                    <a:pt x="143" y="34050"/>
                  </a:moveTo>
                  <a:cubicBezTo>
                    <a:pt x="1239" y="47198"/>
                    <a:pt x="13292" y="57059"/>
                    <a:pt x="26075" y="55963"/>
                  </a:cubicBezTo>
                  <a:lnTo>
                    <a:pt x="115922" y="47928"/>
                  </a:lnTo>
                  <a:cubicBezTo>
                    <a:pt x="129070" y="46833"/>
                    <a:pt x="138931" y="34780"/>
                    <a:pt x="137835" y="21997"/>
                  </a:cubicBezTo>
                  <a:lnTo>
                    <a:pt x="137835" y="21997"/>
                  </a:lnTo>
                  <a:cubicBezTo>
                    <a:pt x="136740" y="8849"/>
                    <a:pt x="124687" y="-1013"/>
                    <a:pt x="111904" y="83"/>
                  </a:cubicBezTo>
                  <a:lnTo>
                    <a:pt x="22057" y="8118"/>
                  </a:lnTo>
                  <a:cubicBezTo>
                    <a:pt x="8544" y="8849"/>
                    <a:pt x="-1317" y="20901"/>
                    <a:pt x="143" y="34050"/>
                  </a:cubicBezTo>
                  <a:lnTo>
                    <a:pt x="143" y="34050"/>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1" name="Freeform: Shape 2267">
              <a:extLst>
                <a:ext uri="{FF2B5EF4-FFF2-40B4-BE49-F238E27FC236}">
                  <a16:creationId xmlns:a16="http://schemas.microsoft.com/office/drawing/2014/main" id="{ABD6BC98-DC69-C4F8-66C5-C847E5022625}"/>
                </a:ext>
              </a:extLst>
            </p:cNvPr>
            <p:cNvSpPr/>
            <p:nvPr/>
          </p:nvSpPr>
          <p:spPr>
            <a:xfrm>
              <a:off x="10693105" y="2030776"/>
              <a:ext cx="135139" cy="92407"/>
            </a:xfrm>
            <a:custGeom>
              <a:avLst/>
              <a:gdLst>
                <a:gd name="connsiteX0" fmla="*/ 185 w 135139"/>
                <a:gd name="connsiteY0" fmla="*/ 52413 h 92407"/>
                <a:gd name="connsiteX1" fmla="*/ 48030 w 135139"/>
                <a:gd name="connsiteY1" fmla="*/ 92223 h 92407"/>
                <a:gd name="connsiteX2" fmla="*/ 95145 w 135139"/>
                <a:gd name="connsiteY2" fmla="*/ 87840 h 92407"/>
                <a:gd name="connsiteX3" fmla="*/ 134955 w 135139"/>
                <a:gd name="connsiteY3" fmla="*/ 39995 h 92407"/>
                <a:gd name="connsiteX4" fmla="*/ 134955 w 135139"/>
                <a:gd name="connsiteY4" fmla="*/ 39995 h 92407"/>
                <a:gd name="connsiteX5" fmla="*/ 87110 w 135139"/>
                <a:gd name="connsiteY5" fmla="*/ 185 h 92407"/>
                <a:gd name="connsiteX6" fmla="*/ 39995 w 135139"/>
                <a:gd name="connsiteY6" fmla="*/ 4568 h 92407"/>
                <a:gd name="connsiteX7" fmla="*/ 185 w 135139"/>
                <a:gd name="connsiteY7" fmla="*/ 52413 h 92407"/>
                <a:gd name="connsiteX8" fmla="*/ 185 w 135139"/>
                <a:gd name="connsiteY8" fmla="*/ 52413 h 9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139" h="92407">
                  <a:moveTo>
                    <a:pt x="185" y="52413"/>
                  </a:moveTo>
                  <a:cubicBezTo>
                    <a:pt x="2376" y="76883"/>
                    <a:pt x="23925" y="94414"/>
                    <a:pt x="48030" y="92223"/>
                  </a:cubicBezTo>
                  <a:lnTo>
                    <a:pt x="95145" y="87840"/>
                  </a:lnTo>
                  <a:cubicBezTo>
                    <a:pt x="119615" y="85649"/>
                    <a:pt x="137146" y="64100"/>
                    <a:pt x="134955" y="39995"/>
                  </a:cubicBezTo>
                  <a:lnTo>
                    <a:pt x="134955" y="39995"/>
                  </a:lnTo>
                  <a:cubicBezTo>
                    <a:pt x="132763" y="15525"/>
                    <a:pt x="111215" y="-2007"/>
                    <a:pt x="87110" y="185"/>
                  </a:cubicBezTo>
                  <a:lnTo>
                    <a:pt x="39995" y="4568"/>
                  </a:lnTo>
                  <a:cubicBezTo>
                    <a:pt x="15524" y="6759"/>
                    <a:pt x="-2007" y="28673"/>
                    <a:pt x="185" y="52413"/>
                  </a:cubicBezTo>
                  <a:lnTo>
                    <a:pt x="185" y="52413"/>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2" name="Freeform: Shape 2268">
              <a:extLst>
                <a:ext uri="{FF2B5EF4-FFF2-40B4-BE49-F238E27FC236}">
                  <a16:creationId xmlns:a16="http://schemas.microsoft.com/office/drawing/2014/main" id="{F2D0D90B-25C0-08CB-CA03-439B300DF47E}"/>
                </a:ext>
              </a:extLst>
            </p:cNvPr>
            <p:cNvSpPr/>
            <p:nvPr/>
          </p:nvSpPr>
          <p:spPr>
            <a:xfrm>
              <a:off x="10651899" y="2008841"/>
              <a:ext cx="113340" cy="147758"/>
            </a:xfrm>
            <a:custGeom>
              <a:avLst/>
              <a:gdLst>
                <a:gd name="connsiteX0" fmla="*/ 12537 w 113340"/>
                <a:gd name="connsiteY0" fmla="*/ 147394 h 147758"/>
                <a:gd name="connsiteX1" fmla="*/ 120 w 113340"/>
                <a:gd name="connsiteY1" fmla="*/ 10067 h 147758"/>
                <a:gd name="connsiteX2" fmla="*/ 39930 w 113340"/>
                <a:gd name="connsiteY2" fmla="*/ 6415 h 147758"/>
                <a:gd name="connsiteX3" fmla="*/ 61113 w 113340"/>
                <a:gd name="connsiteY3" fmla="*/ 4589 h 147758"/>
                <a:gd name="connsiteX4" fmla="*/ 104576 w 113340"/>
                <a:gd name="connsiteY4" fmla="*/ 40747 h 147758"/>
                <a:gd name="connsiteX5" fmla="*/ 113341 w 113340"/>
                <a:gd name="connsiteY5" fmla="*/ 138628 h 147758"/>
                <a:gd name="connsiteX6" fmla="*/ 13268 w 113340"/>
                <a:gd name="connsiteY6" fmla="*/ 147759 h 147758"/>
                <a:gd name="connsiteX7" fmla="*/ 12537 w 113340"/>
                <a:gd name="connsiteY7" fmla="*/ 147394 h 147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40" h="147758">
                  <a:moveTo>
                    <a:pt x="12537" y="147394"/>
                  </a:moveTo>
                  <a:lnTo>
                    <a:pt x="120" y="10067"/>
                  </a:lnTo>
                  <a:cubicBezTo>
                    <a:pt x="-1707" y="-11481"/>
                    <a:pt x="17651" y="8606"/>
                    <a:pt x="39930" y="6415"/>
                  </a:cubicBezTo>
                  <a:lnTo>
                    <a:pt x="61113" y="4589"/>
                  </a:lnTo>
                  <a:cubicBezTo>
                    <a:pt x="83392" y="2763"/>
                    <a:pt x="102384" y="18467"/>
                    <a:pt x="104576" y="40747"/>
                  </a:cubicBezTo>
                  <a:lnTo>
                    <a:pt x="113341" y="138628"/>
                  </a:lnTo>
                  <a:lnTo>
                    <a:pt x="13268" y="147759"/>
                  </a:lnTo>
                  <a:lnTo>
                    <a:pt x="12537" y="147394"/>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3" name="Freeform: Shape 2269">
              <a:extLst>
                <a:ext uri="{FF2B5EF4-FFF2-40B4-BE49-F238E27FC236}">
                  <a16:creationId xmlns:a16="http://schemas.microsoft.com/office/drawing/2014/main" id="{A0A5F03C-9E16-FE96-B2D4-C2E562A66FAC}"/>
                </a:ext>
              </a:extLst>
            </p:cNvPr>
            <p:cNvSpPr/>
            <p:nvPr/>
          </p:nvSpPr>
          <p:spPr>
            <a:xfrm>
              <a:off x="10740720" y="2062686"/>
              <a:ext cx="35527" cy="35528"/>
            </a:xfrm>
            <a:custGeom>
              <a:avLst/>
              <a:gdLst>
                <a:gd name="connsiteX0" fmla="*/ 50 w 35527"/>
                <a:gd name="connsiteY0" fmla="*/ 19408 h 35528"/>
                <a:gd name="connsiteX1" fmla="*/ 19408 w 35527"/>
                <a:gd name="connsiteY1" fmla="*/ 35478 h 35528"/>
                <a:gd name="connsiteX2" fmla="*/ 19408 w 35527"/>
                <a:gd name="connsiteY2" fmla="*/ 35478 h 35528"/>
                <a:gd name="connsiteX3" fmla="*/ 35478 w 35527"/>
                <a:gd name="connsiteY3" fmla="*/ 16121 h 35528"/>
                <a:gd name="connsiteX4" fmla="*/ 35478 w 35527"/>
                <a:gd name="connsiteY4" fmla="*/ 16121 h 35528"/>
                <a:gd name="connsiteX5" fmla="*/ 16120 w 35527"/>
                <a:gd name="connsiteY5" fmla="*/ 50 h 35528"/>
                <a:gd name="connsiteX6" fmla="*/ 16120 w 35527"/>
                <a:gd name="connsiteY6" fmla="*/ 50 h 35528"/>
                <a:gd name="connsiteX7" fmla="*/ 50 w 35527"/>
                <a:gd name="connsiteY7" fmla="*/ 19408 h 35528"/>
                <a:gd name="connsiteX8" fmla="*/ 50 w 35527"/>
                <a:gd name="connsiteY8" fmla="*/ 19408 h 3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27" h="35528">
                  <a:moveTo>
                    <a:pt x="50" y="19408"/>
                  </a:moveTo>
                  <a:cubicBezTo>
                    <a:pt x="781" y="28904"/>
                    <a:pt x="9181" y="36208"/>
                    <a:pt x="19408" y="35478"/>
                  </a:cubicBezTo>
                  <a:lnTo>
                    <a:pt x="19408" y="35478"/>
                  </a:lnTo>
                  <a:cubicBezTo>
                    <a:pt x="28903" y="34747"/>
                    <a:pt x="36208" y="26347"/>
                    <a:pt x="35478" y="16121"/>
                  </a:cubicBezTo>
                  <a:lnTo>
                    <a:pt x="35478" y="16121"/>
                  </a:lnTo>
                  <a:cubicBezTo>
                    <a:pt x="34747" y="6624"/>
                    <a:pt x="26347" y="-680"/>
                    <a:pt x="16120" y="50"/>
                  </a:cubicBezTo>
                  <a:lnTo>
                    <a:pt x="16120" y="50"/>
                  </a:lnTo>
                  <a:cubicBezTo>
                    <a:pt x="6624" y="1146"/>
                    <a:pt x="-680" y="9546"/>
                    <a:pt x="50" y="19408"/>
                  </a:cubicBezTo>
                  <a:lnTo>
                    <a:pt x="50" y="19408"/>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4" name="Freeform: Shape 2270">
              <a:extLst>
                <a:ext uri="{FF2B5EF4-FFF2-40B4-BE49-F238E27FC236}">
                  <a16:creationId xmlns:a16="http://schemas.microsoft.com/office/drawing/2014/main" id="{CEF3A9C2-22C5-BD17-1AAA-A1D332FDED37}"/>
                </a:ext>
              </a:extLst>
            </p:cNvPr>
            <p:cNvSpPr/>
            <p:nvPr/>
          </p:nvSpPr>
          <p:spPr>
            <a:xfrm>
              <a:off x="10643619" y="2060545"/>
              <a:ext cx="28145" cy="63573"/>
            </a:xfrm>
            <a:custGeom>
              <a:avLst/>
              <a:gdLst>
                <a:gd name="connsiteX0" fmla="*/ 28123 w 28145"/>
                <a:gd name="connsiteY0" fmla="*/ 51863 h 63573"/>
                <a:gd name="connsiteX1" fmla="*/ 18992 w 28145"/>
                <a:gd name="connsiteY1" fmla="*/ 62820 h 63573"/>
                <a:gd name="connsiteX2" fmla="*/ 10957 w 28145"/>
                <a:gd name="connsiteY2" fmla="*/ 63550 h 63573"/>
                <a:gd name="connsiteX3" fmla="*/ 0 w 28145"/>
                <a:gd name="connsiteY3" fmla="*/ 54419 h 63573"/>
                <a:gd name="connsiteX4" fmla="*/ 18262 w 28145"/>
                <a:gd name="connsiteY4" fmla="*/ 0 h 63573"/>
                <a:gd name="connsiteX5" fmla="*/ 23740 w 28145"/>
                <a:gd name="connsiteY5" fmla="*/ 9496 h 63573"/>
                <a:gd name="connsiteX6" fmla="*/ 27392 w 28145"/>
                <a:gd name="connsiteY6" fmla="*/ 51497 h 63573"/>
                <a:gd name="connsiteX7" fmla="*/ 28123 w 28145"/>
                <a:gd name="connsiteY7" fmla="*/ 51863 h 6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45" h="63573">
                  <a:moveTo>
                    <a:pt x="28123" y="51863"/>
                  </a:moveTo>
                  <a:cubicBezTo>
                    <a:pt x="28488" y="57341"/>
                    <a:pt x="24470" y="62089"/>
                    <a:pt x="18992" y="62820"/>
                  </a:cubicBezTo>
                  <a:lnTo>
                    <a:pt x="10957" y="63550"/>
                  </a:lnTo>
                  <a:cubicBezTo>
                    <a:pt x="5478" y="63915"/>
                    <a:pt x="731" y="59898"/>
                    <a:pt x="0" y="54419"/>
                  </a:cubicBezTo>
                  <a:cubicBezTo>
                    <a:pt x="0" y="54419"/>
                    <a:pt x="12783" y="365"/>
                    <a:pt x="18262" y="0"/>
                  </a:cubicBezTo>
                  <a:cubicBezTo>
                    <a:pt x="18262" y="0"/>
                    <a:pt x="23009" y="4018"/>
                    <a:pt x="23740" y="9496"/>
                  </a:cubicBezTo>
                  <a:lnTo>
                    <a:pt x="27392" y="51497"/>
                  </a:lnTo>
                  <a:lnTo>
                    <a:pt x="28123" y="51863"/>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5" name="Freeform: Shape 2271">
              <a:extLst>
                <a:ext uri="{FF2B5EF4-FFF2-40B4-BE49-F238E27FC236}">
                  <a16:creationId xmlns:a16="http://schemas.microsoft.com/office/drawing/2014/main" id="{A8CAB9B6-0199-610C-CD75-338F8D6E83C1}"/>
                </a:ext>
              </a:extLst>
            </p:cNvPr>
            <p:cNvSpPr/>
            <p:nvPr/>
          </p:nvSpPr>
          <p:spPr>
            <a:xfrm>
              <a:off x="10663706" y="2113868"/>
              <a:ext cx="114096" cy="112125"/>
            </a:xfrm>
            <a:custGeom>
              <a:avLst/>
              <a:gdLst>
                <a:gd name="connsiteX0" fmla="*/ 55515 w 114096"/>
                <a:gd name="connsiteY0" fmla="*/ 30314 h 112125"/>
                <a:gd name="connsiteX1" fmla="*/ 98247 w 114096"/>
                <a:gd name="connsiteY1" fmla="*/ 0 h 112125"/>
                <a:gd name="connsiteX2" fmla="*/ 112856 w 114096"/>
                <a:gd name="connsiteY2" fmla="*/ 45289 h 112125"/>
                <a:gd name="connsiteX3" fmla="*/ 113952 w 114096"/>
                <a:gd name="connsiteY3" fmla="*/ 58072 h 112125"/>
                <a:gd name="connsiteX4" fmla="*/ 62455 w 114096"/>
                <a:gd name="connsiteY4" fmla="*/ 107012 h 112125"/>
                <a:gd name="connsiteX5" fmla="*/ 6939 w 114096"/>
                <a:gd name="connsiteY5" fmla="*/ 112126 h 112125"/>
                <a:gd name="connsiteX6" fmla="*/ 0 w 114096"/>
                <a:gd name="connsiteY6" fmla="*/ 35793 h 112125"/>
                <a:gd name="connsiteX7" fmla="*/ 55515 w 114096"/>
                <a:gd name="connsiteY7" fmla="*/ 30314 h 112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096" h="112125">
                  <a:moveTo>
                    <a:pt x="55515" y="30314"/>
                  </a:moveTo>
                  <a:cubicBezTo>
                    <a:pt x="95325" y="26662"/>
                    <a:pt x="98247" y="14244"/>
                    <a:pt x="98247" y="0"/>
                  </a:cubicBezTo>
                  <a:cubicBezTo>
                    <a:pt x="98247" y="0"/>
                    <a:pt x="111761" y="33966"/>
                    <a:pt x="112856" y="45289"/>
                  </a:cubicBezTo>
                  <a:lnTo>
                    <a:pt x="113952" y="58072"/>
                  </a:lnTo>
                  <a:cubicBezTo>
                    <a:pt x="116143" y="82542"/>
                    <a:pt x="93134" y="104091"/>
                    <a:pt x="62455" y="107012"/>
                  </a:cubicBezTo>
                  <a:lnTo>
                    <a:pt x="6939" y="112126"/>
                  </a:lnTo>
                  <a:lnTo>
                    <a:pt x="0" y="35793"/>
                  </a:lnTo>
                  <a:lnTo>
                    <a:pt x="55515" y="30314"/>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6" name="Freeform: Shape 2272">
              <a:extLst>
                <a:ext uri="{FF2B5EF4-FFF2-40B4-BE49-F238E27FC236}">
                  <a16:creationId xmlns:a16="http://schemas.microsoft.com/office/drawing/2014/main" id="{103957E7-5170-1C73-B131-99F3E3ED953F}"/>
                </a:ext>
              </a:extLst>
            </p:cNvPr>
            <p:cNvSpPr/>
            <p:nvPr/>
          </p:nvSpPr>
          <p:spPr>
            <a:xfrm>
              <a:off x="10661150" y="2120312"/>
              <a:ext cx="61233" cy="36288"/>
            </a:xfrm>
            <a:custGeom>
              <a:avLst/>
              <a:gdLst>
                <a:gd name="connsiteX0" fmla="*/ 0 w 61233"/>
                <a:gd name="connsiteY0" fmla="*/ 3053 h 36288"/>
                <a:gd name="connsiteX1" fmla="*/ 31775 w 61233"/>
                <a:gd name="connsiteY1" fmla="*/ 131 h 36288"/>
                <a:gd name="connsiteX2" fmla="*/ 60994 w 61233"/>
                <a:gd name="connsiteY2" fmla="*/ 24236 h 36288"/>
                <a:gd name="connsiteX3" fmla="*/ 60628 w 61233"/>
                <a:gd name="connsiteY3" fmla="*/ 31175 h 36288"/>
                <a:gd name="connsiteX4" fmla="*/ 3287 w 61233"/>
                <a:gd name="connsiteY4" fmla="*/ 36289 h 36288"/>
                <a:gd name="connsiteX5" fmla="*/ 365 w 61233"/>
                <a:gd name="connsiteY5" fmla="*/ 3418 h 36288"/>
                <a:gd name="connsiteX6" fmla="*/ 0 w 61233"/>
                <a:gd name="connsiteY6" fmla="*/ 3053 h 3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233" h="36288">
                  <a:moveTo>
                    <a:pt x="0" y="3053"/>
                  </a:moveTo>
                  <a:lnTo>
                    <a:pt x="31775" y="131"/>
                  </a:lnTo>
                  <a:cubicBezTo>
                    <a:pt x="46384" y="-1330"/>
                    <a:pt x="59533" y="9627"/>
                    <a:pt x="60994" y="24236"/>
                  </a:cubicBezTo>
                  <a:cubicBezTo>
                    <a:pt x="61359" y="26427"/>
                    <a:pt x="61359" y="28619"/>
                    <a:pt x="60628" y="31175"/>
                  </a:cubicBezTo>
                  <a:lnTo>
                    <a:pt x="3287" y="36289"/>
                  </a:lnTo>
                  <a:lnTo>
                    <a:pt x="365" y="3418"/>
                  </a:lnTo>
                  <a:lnTo>
                    <a:pt x="0" y="3053"/>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7" name="Freeform: Shape 2273">
              <a:extLst>
                <a:ext uri="{FF2B5EF4-FFF2-40B4-BE49-F238E27FC236}">
                  <a16:creationId xmlns:a16="http://schemas.microsoft.com/office/drawing/2014/main" id="{68494A4F-3CE9-D4E9-A0BB-79D1546CCF7F}"/>
                </a:ext>
              </a:extLst>
            </p:cNvPr>
            <p:cNvSpPr/>
            <p:nvPr/>
          </p:nvSpPr>
          <p:spPr>
            <a:xfrm>
              <a:off x="10670280" y="2147835"/>
              <a:ext cx="35108" cy="15386"/>
            </a:xfrm>
            <a:custGeom>
              <a:avLst/>
              <a:gdLst>
                <a:gd name="connsiteX0" fmla="*/ 34332 w 35108"/>
                <a:gd name="connsiteY0" fmla="*/ 0 h 15386"/>
                <a:gd name="connsiteX1" fmla="*/ 35062 w 35108"/>
                <a:gd name="connsiteY1" fmla="*/ 8400 h 15386"/>
                <a:gd name="connsiteX2" fmla="*/ 31045 w 35108"/>
                <a:gd name="connsiteY2" fmla="*/ 13148 h 15386"/>
                <a:gd name="connsiteX3" fmla="*/ 5478 w 35108"/>
                <a:gd name="connsiteY3" fmla="*/ 15340 h 15386"/>
                <a:gd name="connsiteX4" fmla="*/ 731 w 35108"/>
                <a:gd name="connsiteY4" fmla="*/ 11322 h 15386"/>
                <a:gd name="connsiteX5" fmla="*/ 0 w 35108"/>
                <a:gd name="connsiteY5" fmla="*/ 2922 h 15386"/>
                <a:gd name="connsiteX6" fmla="*/ 34332 w 35108"/>
                <a:gd name="connsiteY6" fmla="*/ 0 h 15386"/>
                <a:gd name="connsiteX7" fmla="*/ 34332 w 35108"/>
                <a:gd name="connsiteY7" fmla="*/ 0 h 1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08" h="15386">
                  <a:moveTo>
                    <a:pt x="34332" y="0"/>
                  </a:moveTo>
                  <a:lnTo>
                    <a:pt x="35062" y="8400"/>
                  </a:lnTo>
                  <a:cubicBezTo>
                    <a:pt x="35427" y="10592"/>
                    <a:pt x="33601" y="13148"/>
                    <a:pt x="31045" y="13148"/>
                  </a:cubicBezTo>
                  <a:lnTo>
                    <a:pt x="5478" y="15340"/>
                  </a:lnTo>
                  <a:cubicBezTo>
                    <a:pt x="3287" y="15705"/>
                    <a:pt x="731" y="13879"/>
                    <a:pt x="731" y="11322"/>
                  </a:cubicBezTo>
                  <a:lnTo>
                    <a:pt x="0" y="2922"/>
                  </a:lnTo>
                  <a:lnTo>
                    <a:pt x="34332" y="0"/>
                  </a:lnTo>
                  <a:lnTo>
                    <a:pt x="34332" y="0"/>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8" name="Freeform: Shape 2274">
              <a:extLst>
                <a:ext uri="{FF2B5EF4-FFF2-40B4-BE49-F238E27FC236}">
                  <a16:creationId xmlns:a16="http://schemas.microsoft.com/office/drawing/2014/main" id="{E8BFD54C-1E96-4740-9BE0-4987DDE4C5E0}"/>
                </a:ext>
              </a:extLst>
            </p:cNvPr>
            <p:cNvSpPr/>
            <p:nvPr/>
          </p:nvSpPr>
          <p:spPr>
            <a:xfrm>
              <a:off x="10663341" y="1986348"/>
              <a:ext cx="101533" cy="54840"/>
            </a:xfrm>
            <a:custGeom>
              <a:avLst/>
              <a:gdLst>
                <a:gd name="connsiteX0" fmla="*/ 0 w 101533"/>
                <a:gd name="connsiteY0" fmla="*/ 7360 h 54840"/>
                <a:gd name="connsiteX1" fmla="*/ 81446 w 101533"/>
                <a:gd name="connsiteY1" fmla="*/ 55 h 54840"/>
                <a:gd name="connsiteX2" fmla="*/ 98612 w 101533"/>
                <a:gd name="connsiteY2" fmla="*/ 14299 h 54840"/>
                <a:gd name="connsiteX3" fmla="*/ 101534 w 101533"/>
                <a:gd name="connsiteY3" fmla="*/ 46074 h 54840"/>
                <a:gd name="connsiteX4" fmla="*/ 4383 w 101533"/>
                <a:gd name="connsiteY4" fmla="*/ 54840 h 54840"/>
                <a:gd name="connsiteX5" fmla="*/ 0 w 101533"/>
                <a:gd name="connsiteY5" fmla="*/ 7360 h 54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33" h="54840">
                  <a:moveTo>
                    <a:pt x="0" y="7360"/>
                  </a:moveTo>
                  <a:lnTo>
                    <a:pt x="81446" y="55"/>
                  </a:lnTo>
                  <a:cubicBezTo>
                    <a:pt x="89847" y="-675"/>
                    <a:pt x="97882" y="5899"/>
                    <a:pt x="98612" y="14299"/>
                  </a:cubicBezTo>
                  <a:lnTo>
                    <a:pt x="101534" y="46074"/>
                  </a:lnTo>
                  <a:lnTo>
                    <a:pt x="4383" y="54840"/>
                  </a:lnTo>
                  <a:lnTo>
                    <a:pt x="0" y="7360"/>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9" name="Freeform: Shape 2275">
              <a:extLst>
                <a:ext uri="{FF2B5EF4-FFF2-40B4-BE49-F238E27FC236}">
                  <a16:creationId xmlns:a16="http://schemas.microsoft.com/office/drawing/2014/main" id="{39905F3B-4ED6-9583-21B1-8D650E9E886D}"/>
                </a:ext>
              </a:extLst>
            </p:cNvPr>
            <p:cNvSpPr/>
            <p:nvPr/>
          </p:nvSpPr>
          <p:spPr>
            <a:xfrm>
              <a:off x="10614682" y="1990337"/>
              <a:ext cx="103161" cy="53124"/>
            </a:xfrm>
            <a:custGeom>
              <a:avLst/>
              <a:gdLst>
                <a:gd name="connsiteX0" fmla="*/ 83 w 103161"/>
                <a:gd name="connsiteY0" fmla="*/ 31128 h 53124"/>
                <a:gd name="connsiteX1" fmla="*/ 26014 w 103161"/>
                <a:gd name="connsiteY1" fmla="*/ 53042 h 53124"/>
                <a:gd name="connsiteX2" fmla="*/ 81164 w 103161"/>
                <a:gd name="connsiteY2" fmla="*/ 47928 h 53124"/>
                <a:gd name="connsiteX3" fmla="*/ 103078 w 103161"/>
                <a:gd name="connsiteY3" fmla="*/ 21997 h 53124"/>
                <a:gd name="connsiteX4" fmla="*/ 103078 w 103161"/>
                <a:gd name="connsiteY4" fmla="*/ 21997 h 53124"/>
                <a:gd name="connsiteX5" fmla="*/ 77147 w 103161"/>
                <a:gd name="connsiteY5" fmla="*/ 83 h 53124"/>
                <a:gd name="connsiteX6" fmla="*/ 21997 w 103161"/>
                <a:gd name="connsiteY6" fmla="*/ 5196 h 53124"/>
                <a:gd name="connsiteX7" fmla="*/ 83 w 103161"/>
                <a:gd name="connsiteY7" fmla="*/ 31128 h 53124"/>
                <a:gd name="connsiteX8" fmla="*/ 83 w 103161"/>
                <a:gd name="connsiteY8" fmla="*/ 31128 h 53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161" h="53124">
                  <a:moveTo>
                    <a:pt x="83" y="31128"/>
                  </a:moveTo>
                  <a:cubicBezTo>
                    <a:pt x="1179" y="44276"/>
                    <a:pt x="13231" y="54137"/>
                    <a:pt x="26014" y="53042"/>
                  </a:cubicBezTo>
                  <a:lnTo>
                    <a:pt x="81164" y="47928"/>
                  </a:lnTo>
                  <a:cubicBezTo>
                    <a:pt x="94313" y="46833"/>
                    <a:pt x="104174" y="34780"/>
                    <a:pt x="103078" y="21997"/>
                  </a:cubicBezTo>
                  <a:lnTo>
                    <a:pt x="103078" y="21997"/>
                  </a:lnTo>
                  <a:cubicBezTo>
                    <a:pt x="101982" y="8849"/>
                    <a:pt x="89930" y="-1013"/>
                    <a:pt x="77147" y="83"/>
                  </a:cubicBezTo>
                  <a:lnTo>
                    <a:pt x="21997" y="5196"/>
                  </a:lnTo>
                  <a:cubicBezTo>
                    <a:pt x="8849" y="6292"/>
                    <a:pt x="-1013" y="18345"/>
                    <a:pt x="83" y="31128"/>
                  </a:cubicBezTo>
                  <a:lnTo>
                    <a:pt x="83" y="31128"/>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0" name="Freeform: Shape 2276">
              <a:extLst>
                <a:ext uri="{FF2B5EF4-FFF2-40B4-BE49-F238E27FC236}">
                  <a16:creationId xmlns:a16="http://schemas.microsoft.com/office/drawing/2014/main" id="{3B67A5DE-65F7-1FBC-BFD7-7B481624A008}"/>
                </a:ext>
              </a:extLst>
            </p:cNvPr>
            <p:cNvSpPr/>
            <p:nvPr/>
          </p:nvSpPr>
          <p:spPr>
            <a:xfrm rot="21289880">
              <a:off x="10734845" y="2022549"/>
              <a:ext cx="22278" cy="58069"/>
            </a:xfrm>
            <a:custGeom>
              <a:avLst/>
              <a:gdLst>
                <a:gd name="connsiteX0" fmla="*/ 0 w 22278"/>
                <a:gd name="connsiteY0" fmla="*/ 0 h 58069"/>
                <a:gd name="connsiteX1" fmla="*/ 22278 w 22278"/>
                <a:gd name="connsiteY1" fmla="*/ 0 h 58069"/>
                <a:gd name="connsiteX2" fmla="*/ 22278 w 22278"/>
                <a:gd name="connsiteY2" fmla="*/ 58070 h 58069"/>
                <a:gd name="connsiteX3" fmla="*/ 0 w 22278"/>
                <a:gd name="connsiteY3" fmla="*/ 58070 h 58069"/>
              </a:gdLst>
              <a:ahLst/>
              <a:cxnLst>
                <a:cxn ang="0">
                  <a:pos x="connsiteX0" y="connsiteY0"/>
                </a:cxn>
                <a:cxn ang="0">
                  <a:pos x="connsiteX1" y="connsiteY1"/>
                </a:cxn>
                <a:cxn ang="0">
                  <a:pos x="connsiteX2" y="connsiteY2"/>
                </a:cxn>
                <a:cxn ang="0">
                  <a:pos x="connsiteX3" y="connsiteY3"/>
                </a:cxn>
              </a:cxnLst>
              <a:rect l="l" t="t" r="r" b="b"/>
              <a:pathLst>
                <a:path w="22278" h="58069">
                  <a:moveTo>
                    <a:pt x="0" y="0"/>
                  </a:moveTo>
                  <a:lnTo>
                    <a:pt x="22278" y="0"/>
                  </a:lnTo>
                  <a:lnTo>
                    <a:pt x="22278" y="58070"/>
                  </a:lnTo>
                  <a:lnTo>
                    <a:pt x="0" y="58070"/>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1" name="Freeform: Shape 2277">
              <a:extLst>
                <a:ext uri="{FF2B5EF4-FFF2-40B4-BE49-F238E27FC236}">
                  <a16:creationId xmlns:a16="http://schemas.microsoft.com/office/drawing/2014/main" id="{0AE07904-5D2E-4621-9167-DE2175FDAB99}"/>
                </a:ext>
              </a:extLst>
            </p:cNvPr>
            <p:cNvSpPr/>
            <p:nvPr/>
          </p:nvSpPr>
          <p:spPr>
            <a:xfrm rot="21289880">
              <a:off x="10683341" y="2000280"/>
              <a:ext cx="64643" cy="68295"/>
            </a:xfrm>
            <a:custGeom>
              <a:avLst/>
              <a:gdLst>
                <a:gd name="connsiteX0" fmla="*/ 0 w 64643"/>
                <a:gd name="connsiteY0" fmla="*/ 0 h 68295"/>
                <a:gd name="connsiteX1" fmla="*/ 64644 w 64643"/>
                <a:gd name="connsiteY1" fmla="*/ 0 h 68295"/>
                <a:gd name="connsiteX2" fmla="*/ 64644 w 64643"/>
                <a:gd name="connsiteY2" fmla="*/ 68296 h 68295"/>
                <a:gd name="connsiteX3" fmla="*/ 0 w 64643"/>
                <a:gd name="connsiteY3" fmla="*/ 68296 h 68295"/>
              </a:gdLst>
              <a:ahLst/>
              <a:cxnLst>
                <a:cxn ang="0">
                  <a:pos x="connsiteX0" y="connsiteY0"/>
                </a:cxn>
                <a:cxn ang="0">
                  <a:pos x="connsiteX1" y="connsiteY1"/>
                </a:cxn>
                <a:cxn ang="0">
                  <a:pos x="connsiteX2" y="connsiteY2"/>
                </a:cxn>
                <a:cxn ang="0">
                  <a:pos x="connsiteX3" y="connsiteY3"/>
                </a:cxn>
              </a:cxnLst>
              <a:rect l="l" t="t" r="r" b="b"/>
              <a:pathLst>
                <a:path w="64643" h="68295">
                  <a:moveTo>
                    <a:pt x="0" y="0"/>
                  </a:moveTo>
                  <a:lnTo>
                    <a:pt x="64644" y="0"/>
                  </a:lnTo>
                  <a:lnTo>
                    <a:pt x="64644" y="68296"/>
                  </a:lnTo>
                  <a:lnTo>
                    <a:pt x="0" y="68296"/>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2" name="Freeform: Shape 2278">
              <a:extLst>
                <a:ext uri="{FF2B5EF4-FFF2-40B4-BE49-F238E27FC236}">
                  <a16:creationId xmlns:a16="http://schemas.microsoft.com/office/drawing/2014/main" id="{1A5CD8A2-FE01-598C-57F3-A7B7B0919DB5}"/>
                </a:ext>
              </a:extLst>
            </p:cNvPr>
            <p:cNvSpPr/>
            <p:nvPr/>
          </p:nvSpPr>
          <p:spPr>
            <a:xfrm>
              <a:off x="10659444" y="2038155"/>
              <a:ext cx="77112" cy="66328"/>
            </a:xfrm>
            <a:custGeom>
              <a:avLst/>
              <a:gdLst>
                <a:gd name="connsiteX0" fmla="*/ 76943 w 77112"/>
                <a:gd name="connsiteY0" fmla="*/ 29694 h 66328"/>
                <a:gd name="connsiteX1" fmla="*/ 41516 w 77112"/>
                <a:gd name="connsiteY1" fmla="*/ 111 h 66328"/>
                <a:gd name="connsiteX2" fmla="*/ 24716 w 77112"/>
                <a:gd name="connsiteY2" fmla="*/ 1572 h 66328"/>
                <a:gd name="connsiteX3" fmla="*/ 245 w 77112"/>
                <a:gd name="connsiteY3" fmla="*/ 36634 h 66328"/>
                <a:gd name="connsiteX4" fmla="*/ 245 w 77112"/>
                <a:gd name="connsiteY4" fmla="*/ 36634 h 66328"/>
                <a:gd name="connsiteX5" fmla="*/ 35672 w 77112"/>
                <a:gd name="connsiteY5" fmla="*/ 66218 h 66328"/>
                <a:gd name="connsiteX6" fmla="*/ 47360 w 77112"/>
                <a:gd name="connsiteY6" fmla="*/ 65122 h 66328"/>
                <a:gd name="connsiteX7" fmla="*/ 76943 w 77112"/>
                <a:gd name="connsiteY7" fmla="*/ 29694 h 66328"/>
                <a:gd name="connsiteX8" fmla="*/ 76943 w 77112"/>
                <a:gd name="connsiteY8" fmla="*/ 29694 h 66328"/>
                <a:gd name="connsiteX9" fmla="*/ 76943 w 77112"/>
                <a:gd name="connsiteY9" fmla="*/ 29694 h 6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112" h="66328">
                  <a:moveTo>
                    <a:pt x="76943" y="29694"/>
                  </a:moveTo>
                  <a:cubicBezTo>
                    <a:pt x="75482" y="11798"/>
                    <a:pt x="59412" y="-1350"/>
                    <a:pt x="41516" y="111"/>
                  </a:cubicBezTo>
                  <a:lnTo>
                    <a:pt x="24716" y="1572"/>
                  </a:lnTo>
                  <a:cubicBezTo>
                    <a:pt x="6819" y="3033"/>
                    <a:pt x="-1581" y="18372"/>
                    <a:pt x="245" y="36634"/>
                  </a:cubicBezTo>
                  <a:lnTo>
                    <a:pt x="245" y="36634"/>
                  </a:lnTo>
                  <a:cubicBezTo>
                    <a:pt x="1706" y="54530"/>
                    <a:pt x="17776" y="67678"/>
                    <a:pt x="35672" y="66218"/>
                  </a:cubicBezTo>
                  <a:lnTo>
                    <a:pt x="47360" y="65122"/>
                  </a:lnTo>
                  <a:cubicBezTo>
                    <a:pt x="65621" y="63661"/>
                    <a:pt x="78770" y="47956"/>
                    <a:pt x="76943" y="29694"/>
                  </a:cubicBezTo>
                  <a:lnTo>
                    <a:pt x="76943" y="29694"/>
                  </a:lnTo>
                  <a:lnTo>
                    <a:pt x="76943" y="29694"/>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3" name="Freeform: Shape 2279">
              <a:extLst>
                <a:ext uri="{FF2B5EF4-FFF2-40B4-BE49-F238E27FC236}">
                  <a16:creationId xmlns:a16="http://schemas.microsoft.com/office/drawing/2014/main" id="{2A40DCD5-D07C-58BE-0A85-062050B8C8E2}"/>
                </a:ext>
              </a:extLst>
            </p:cNvPr>
            <p:cNvSpPr/>
            <p:nvPr/>
          </p:nvSpPr>
          <p:spPr>
            <a:xfrm>
              <a:off x="10239430" y="2268361"/>
              <a:ext cx="126820" cy="116143"/>
            </a:xfrm>
            <a:custGeom>
              <a:avLst/>
              <a:gdLst>
                <a:gd name="connsiteX0" fmla="*/ 115656 w 126820"/>
                <a:gd name="connsiteY0" fmla="*/ 108839 h 116143"/>
                <a:gd name="connsiteX1" fmla="*/ 125518 w 126820"/>
                <a:gd name="connsiteY1" fmla="*/ 61724 h 116143"/>
                <a:gd name="connsiteX2" fmla="*/ 97395 w 126820"/>
                <a:gd name="connsiteY2" fmla="*/ 16070 h 116143"/>
                <a:gd name="connsiteX3" fmla="*/ 90821 w 126820"/>
                <a:gd name="connsiteY3" fmla="*/ 7670 h 116143"/>
                <a:gd name="connsiteX4" fmla="*/ 93012 w 126820"/>
                <a:gd name="connsiteY4" fmla="*/ 33236 h 116143"/>
                <a:gd name="connsiteX5" fmla="*/ 94838 w 126820"/>
                <a:gd name="connsiteY5" fmla="*/ 49306 h 116143"/>
                <a:gd name="connsiteX6" fmla="*/ 72559 w 126820"/>
                <a:gd name="connsiteY6" fmla="*/ 33236 h 116143"/>
                <a:gd name="connsiteX7" fmla="*/ 43341 w 126820"/>
                <a:gd name="connsiteY7" fmla="*/ 15340 h 116143"/>
                <a:gd name="connsiteX8" fmla="*/ 31653 w 126820"/>
                <a:gd name="connsiteY8" fmla="*/ 5844 h 116143"/>
                <a:gd name="connsiteX9" fmla="*/ 22523 w 126820"/>
                <a:gd name="connsiteY9" fmla="*/ 0 h 116143"/>
                <a:gd name="connsiteX10" fmla="*/ 17044 w 126820"/>
                <a:gd name="connsiteY10" fmla="*/ 5844 h 116143"/>
                <a:gd name="connsiteX11" fmla="*/ 60141 w 126820"/>
                <a:gd name="connsiteY11" fmla="*/ 46749 h 116143"/>
                <a:gd name="connsiteX12" fmla="*/ 10470 w 126820"/>
                <a:gd name="connsiteY12" fmla="*/ 19722 h 116143"/>
                <a:gd name="connsiteX13" fmla="*/ 974 w 126820"/>
                <a:gd name="connsiteY13" fmla="*/ 20088 h 116143"/>
                <a:gd name="connsiteX14" fmla="*/ 974 w 126820"/>
                <a:gd name="connsiteY14" fmla="*/ 24105 h 116143"/>
                <a:gd name="connsiteX15" fmla="*/ 50280 w 126820"/>
                <a:gd name="connsiteY15" fmla="*/ 67568 h 116143"/>
                <a:gd name="connsiteX16" fmla="*/ 22888 w 126820"/>
                <a:gd name="connsiteY16" fmla="*/ 56245 h 116143"/>
                <a:gd name="connsiteX17" fmla="*/ 13392 w 126820"/>
                <a:gd name="connsiteY17" fmla="*/ 56611 h 116143"/>
                <a:gd name="connsiteX18" fmla="*/ 9739 w 126820"/>
                <a:gd name="connsiteY18" fmla="*/ 60263 h 116143"/>
                <a:gd name="connsiteX19" fmla="*/ 110178 w 126820"/>
                <a:gd name="connsiteY19" fmla="*/ 116143 h 116143"/>
                <a:gd name="connsiteX20" fmla="*/ 116752 w 126820"/>
                <a:gd name="connsiteY20" fmla="*/ 108108 h 116143"/>
                <a:gd name="connsiteX21" fmla="*/ 115656 w 126820"/>
                <a:gd name="connsiteY21" fmla="*/ 108839 h 116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6820" h="116143">
                  <a:moveTo>
                    <a:pt x="115656" y="108839"/>
                  </a:moveTo>
                  <a:cubicBezTo>
                    <a:pt x="115656" y="108839"/>
                    <a:pt x="131361" y="71585"/>
                    <a:pt x="125518" y="61724"/>
                  </a:cubicBezTo>
                  <a:cubicBezTo>
                    <a:pt x="120039" y="51863"/>
                    <a:pt x="97395" y="16070"/>
                    <a:pt x="97395" y="16070"/>
                  </a:cubicBezTo>
                  <a:lnTo>
                    <a:pt x="90821" y="7670"/>
                  </a:lnTo>
                  <a:cubicBezTo>
                    <a:pt x="90821" y="7670"/>
                    <a:pt x="77307" y="9861"/>
                    <a:pt x="93012" y="33236"/>
                  </a:cubicBezTo>
                  <a:cubicBezTo>
                    <a:pt x="108717" y="56976"/>
                    <a:pt x="94838" y="49306"/>
                    <a:pt x="94838" y="49306"/>
                  </a:cubicBezTo>
                  <a:lnTo>
                    <a:pt x="72559" y="33236"/>
                  </a:lnTo>
                  <a:lnTo>
                    <a:pt x="43341" y="15340"/>
                  </a:lnTo>
                  <a:lnTo>
                    <a:pt x="31653" y="5844"/>
                  </a:lnTo>
                  <a:cubicBezTo>
                    <a:pt x="31653" y="5844"/>
                    <a:pt x="25444" y="0"/>
                    <a:pt x="22523" y="0"/>
                  </a:cubicBezTo>
                  <a:cubicBezTo>
                    <a:pt x="14853" y="0"/>
                    <a:pt x="17044" y="5844"/>
                    <a:pt x="17044" y="5844"/>
                  </a:cubicBezTo>
                  <a:lnTo>
                    <a:pt x="60141" y="46749"/>
                  </a:lnTo>
                  <a:lnTo>
                    <a:pt x="10470" y="19722"/>
                  </a:lnTo>
                  <a:cubicBezTo>
                    <a:pt x="10470" y="19722"/>
                    <a:pt x="3165" y="17531"/>
                    <a:pt x="974" y="20088"/>
                  </a:cubicBezTo>
                  <a:cubicBezTo>
                    <a:pt x="-1217" y="22644"/>
                    <a:pt x="974" y="24105"/>
                    <a:pt x="974" y="24105"/>
                  </a:cubicBezTo>
                  <a:lnTo>
                    <a:pt x="50280" y="67568"/>
                  </a:lnTo>
                  <a:lnTo>
                    <a:pt x="22888" y="56245"/>
                  </a:lnTo>
                  <a:cubicBezTo>
                    <a:pt x="22888" y="56245"/>
                    <a:pt x="16314" y="54054"/>
                    <a:pt x="13392" y="56611"/>
                  </a:cubicBezTo>
                  <a:cubicBezTo>
                    <a:pt x="10835" y="59898"/>
                    <a:pt x="9739" y="60263"/>
                    <a:pt x="9739" y="60263"/>
                  </a:cubicBezTo>
                  <a:lnTo>
                    <a:pt x="110178" y="116143"/>
                  </a:lnTo>
                  <a:lnTo>
                    <a:pt x="116752" y="108108"/>
                  </a:lnTo>
                  <a:lnTo>
                    <a:pt x="115656" y="108839"/>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4" name="Freeform: Shape 2280">
              <a:extLst>
                <a:ext uri="{FF2B5EF4-FFF2-40B4-BE49-F238E27FC236}">
                  <a16:creationId xmlns:a16="http://schemas.microsoft.com/office/drawing/2014/main" id="{6A276D5B-38B5-621B-785C-A4A9BD8D04B1}"/>
                </a:ext>
              </a:extLst>
            </p:cNvPr>
            <p:cNvSpPr/>
            <p:nvPr/>
          </p:nvSpPr>
          <p:spPr>
            <a:xfrm>
              <a:off x="10236752" y="2300501"/>
              <a:ext cx="54419" cy="35792"/>
            </a:xfrm>
            <a:custGeom>
              <a:avLst/>
              <a:gdLst>
                <a:gd name="connsiteX0" fmla="*/ 54419 w 54419"/>
                <a:gd name="connsiteY0" fmla="*/ 21549 h 35792"/>
                <a:gd name="connsiteX1" fmla="*/ 18262 w 54419"/>
                <a:gd name="connsiteY1" fmla="*/ 4383 h 35792"/>
                <a:gd name="connsiteX2" fmla="*/ 5844 w 54419"/>
                <a:gd name="connsiteY2" fmla="*/ 0 h 35792"/>
                <a:gd name="connsiteX3" fmla="*/ 0 w 54419"/>
                <a:gd name="connsiteY3" fmla="*/ 4748 h 35792"/>
                <a:gd name="connsiteX4" fmla="*/ 51863 w 54419"/>
                <a:gd name="connsiteY4" fmla="*/ 35793 h 35792"/>
                <a:gd name="connsiteX5" fmla="*/ 54419 w 54419"/>
                <a:gd name="connsiteY5" fmla="*/ 21549 h 3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419" h="35792">
                  <a:moveTo>
                    <a:pt x="54419" y="21549"/>
                  </a:moveTo>
                  <a:lnTo>
                    <a:pt x="18262" y="4383"/>
                  </a:lnTo>
                  <a:cubicBezTo>
                    <a:pt x="18262" y="4383"/>
                    <a:pt x="10592" y="0"/>
                    <a:pt x="5844" y="0"/>
                  </a:cubicBezTo>
                  <a:cubicBezTo>
                    <a:pt x="0" y="0"/>
                    <a:pt x="0" y="4748"/>
                    <a:pt x="0" y="4748"/>
                  </a:cubicBezTo>
                  <a:lnTo>
                    <a:pt x="51863" y="35793"/>
                  </a:lnTo>
                  <a:lnTo>
                    <a:pt x="54419" y="21549"/>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5" name="Freeform: Shape 2281">
              <a:extLst>
                <a:ext uri="{FF2B5EF4-FFF2-40B4-BE49-F238E27FC236}">
                  <a16:creationId xmlns:a16="http://schemas.microsoft.com/office/drawing/2014/main" id="{EFD35C1E-6BE5-94EC-FCEC-EBDA52121A5F}"/>
                </a:ext>
              </a:extLst>
            </p:cNvPr>
            <p:cNvSpPr/>
            <p:nvPr/>
          </p:nvSpPr>
          <p:spPr>
            <a:xfrm>
              <a:off x="10361783" y="3190280"/>
              <a:ext cx="76545" cy="61171"/>
            </a:xfrm>
            <a:custGeom>
              <a:avLst/>
              <a:gdLst>
                <a:gd name="connsiteX0" fmla="*/ 974 w 76545"/>
                <a:gd name="connsiteY0" fmla="*/ 44479 h 61171"/>
                <a:gd name="connsiteX1" fmla="*/ 974 w 76545"/>
                <a:gd name="connsiteY1" fmla="*/ 57627 h 61171"/>
                <a:gd name="connsiteX2" fmla="*/ 50280 w 76545"/>
                <a:gd name="connsiteY2" fmla="*/ 59819 h 61171"/>
                <a:gd name="connsiteX3" fmla="*/ 63428 w 76545"/>
                <a:gd name="connsiteY3" fmla="*/ 51419 h 61171"/>
                <a:gd name="connsiteX4" fmla="*/ 66350 w 76545"/>
                <a:gd name="connsiteY4" fmla="*/ 46305 h 61171"/>
                <a:gd name="connsiteX5" fmla="*/ 69637 w 76545"/>
                <a:gd name="connsiteY5" fmla="*/ 46305 h 61171"/>
                <a:gd name="connsiteX6" fmla="*/ 75481 w 76545"/>
                <a:gd name="connsiteY6" fmla="*/ 41192 h 61171"/>
                <a:gd name="connsiteX7" fmla="*/ 74385 w 76545"/>
                <a:gd name="connsiteY7" fmla="*/ 8321 h 61171"/>
                <a:gd name="connsiteX8" fmla="*/ 36767 w 76545"/>
                <a:gd name="connsiteY8" fmla="*/ 3208 h 61171"/>
                <a:gd name="connsiteX9" fmla="*/ 1704 w 76545"/>
                <a:gd name="connsiteY9" fmla="*/ 44844 h 61171"/>
                <a:gd name="connsiteX10" fmla="*/ 974 w 76545"/>
                <a:gd name="connsiteY10" fmla="*/ 44479 h 61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45" h="61171">
                  <a:moveTo>
                    <a:pt x="974" y="44479"/>
                  </a:moveTo>
                  <a:cubicBezTo>
                    <a:pt x="-1218" y="47766"/>
                    <a:pt x="974" y="57627"/>
                    <a:pt x="974" y="57627"/>
                  </a:cubicBezTo>
                  <a:cubicBezTo>
                    <a:pt x="974" y="57627"/>
                    <a:pt x="38593" y="63836"/>
                    <a:pt x="50280" y="59819"/>
                  </a:cubicBezTo>
                  <a:cubicBezTo>
                    <a:pt x="53202" y="58723"/>
                    <a:pt x="58680" y="55436"/>
                    <a:pt x="63428" y="51419"/>
                  </a:cubicBezTo>
                  <a:cubicBezTo>
                    <a:pt x="64159" y="50688"/>
                    <a:pt x="65620" y="47036"/>
                    <a:pt x="66350" y="46305"/>
                  </a:cubicBezTo>
                  <a:cubicBezTo>
                    <a:pt x="68176" y="45210"/>
                    <a:pt x="68542" y="47036"/>
                    <a:pt x="69637" y="46305"/>
                  </a:cubicBezTo>
                  <a:cubicBezTo>
                    <a:pt x="72924" y="43383"/>
                    <a:pt x="75481" y="41192"/>
                    <a:pt x="75481" y="41192"/>
                  </a:cubicBezTo>
                  <a:cubicBezTo>
                    <a:pt x="78403" y="17817"/>
                    <a:pt x="74385" y="8321"/>
                    <a:pt x="74385" y="8321"/>
                  </a:cubicBezTo>
                  <a:cubicBezTo>
                    <a:pt x="74385" y="8321"/>
                    <a:pt x="42610" y="-6288"/>
                    <a:pt x="36767" y="3208"/>
                  </a:cubicBezTo>
                  <a:cubicBezTo>
                    <a:pt x="23253" y="26583"/>
                    <a:pt x="6087" y="36809"/>
                    <a:pt x="1704" y="44844"/>
                  </a:cubicBezTo>
                  <a:lnTo>
                    <a:pt x="974" y="44479"/>
                  </a:lnTo>
                  <a:close/>
                </a:path>
              </a:pathLst>
            </a:custGeom>
            <a:solidFill>
              <a:srgbClr val="33333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6" name="Freeform: Shape 2282">
              <a:extLst>
                <a:ext uri="{FF2B5EF4-FFF2-40B4-BE49-F238E27FC236}">
                  <a16:creationId xmlns:a16="http://schemas.microsoft.com/office/drawing/2014/main" id="{C589E210-79CE-4786-E9DD-9BAECC36511B}"/>
                </a:ext>
              </a:extLst>
            </p:cNvPr>
            <p:cNvSpPr/>
            <p:nvPr/>
          </p:nvSpPr>
          <p:spPr>
            <a:xfrm>
              <a:off x="10204125" y="3190844"/>
              <a:ext cx="117725" cy="49028"/>
            </a:xfrm>
            <a:custGeom>
              <a:avLst/>
              <a:gdLst>
                <a:gd name="connsiteX0" fmla="*/ 117726 w 117725"/>
                <a:gd name="connsiteY0" fmla="*/ 15427 h 49028"/>
                <a:gd name="connsiteX1" fmla="*/ 112613 w 117725"/>
                <a:gd name="connsiteY1" fmla="*/ 49029 h 49028"/>
                <a:gd name="connsiteX2" fmla="*/ 84125 w 117725"/>
                <a:gd name="connsiteY2" fmla="*/ 49029 h 49028"/>
                <a:gd name="connsiteX3" fmla="*/ 80107 w 117725"/>
                <a:gd name="connsiteY3" fmla="*/ 44646 h 49028"/>
                <a:gd name="connsiteX4" fmla="*/ 72803 w 117725"/>
                <a:gd name="connsiteY4" fmla="*/ 49029 h 49028"/>
                <a:gd name="connsiteX5" fmla="*/ 487 w 117725"/>
                <a:gd name="connsiteY5" fmla="*/ 49029 h 49028"/>
                <a:gd name="connsiteX6" fmla="*/ 487 w 117725"/>
                <a:gd name="connsiteY6" fmla="*/ 39533 h 49028"/>
                <a:gd name="connsiteX7" fmla="*/ 8887 w 117725"/>
                <a:gd name="connsiteY7" fmla="*/ 35150 h 49028"/>
                <a:gd name="connsiteX8" fmla="*/ 77551 w 117725"/>
                <a:gd name="connsiteY8" fmla="*/ 3375 h 49028"/>
                <a:gd name="connsiteX9" fmla="*/ 116630 w 117725"/>
                <a:gd name="connsiteY9" fmla="*/ 15427 h 49028"/>
                <a:gd name="connsiteX10" fmla="*/ 117726 w 117725"/>
                <a:gd name="connsiteY10" fmla="*/ 15427 h 4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725" h="49028">
                  <a:moveTo>
                    <a:pt x="117726" y="15427"/>
                  </a:moveTo>
                  <a:lnTo>
                    <a:pt x="112613" y="49029"/>
                  </a:lnTo>
                  <a:lnTo>
                    <a:pt x="84125" y="49029"/>
                  </a:lnTo>
                  <a:cubicBezTo>
                    <a:pt x="84125" y="49029"/>
                    <a:pt x="82299" y="44646"/>
                    <a:pt x="80107" y="44646"/>
                  </a:cubicBezTo>
                  <a:cubicBezTo>
                    <a:pt x="77916" y="44646"/>
                    <a:pt x="75724" y="49029"/>
                    <a:pt x="72803" y="49029"/>
                  </a:cubicBezTo>
                  <a:lnTo>
                    <a:pt x="487" y="49029"/>
                  </a:lnTo>
                  <a:cubicBezTo>
                    <a:pt x="487" y="49029"/>
                    <a:pt x="-609" y="41724"/>
                    <a:pt x="487" y="39533"/>
                  </a:cubicBezTo>
                  <a:cubicBezTo>
                    <a:pt x="1217" y="38437"/>
                    <a:pt x="6331" y="36245"/>
                    <a:pt x="8887" y="35150"/>
                  </a:cubicBezTo>
                  <a:cubicBezTo>
                    <a:pt x="23496" y="30037"/>
                    <a:pt x="67324" y="19080"/>
                    <a:pt x="77551" y="3375"/>
                  </a:cubicBezTo>
                  <a:cubicBezTo>
                    <a:pt x="84855" y="-8678"/>
                    <a:pt x="116630" y="15427"/>
                    <a:pt x="116630" y="15427"/>
                  </a:cubicBezTo>
                  <a:lnTo>
                    <a:pt x="117726" y="15427"/>
                  </a:lnTo>
                  <a:close/>
                </a:path>
              </a:pathLst>
            </a:custGeom>
            <a:solidFill>
              <a:srgbClr val="33333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7" name="Freeform: Shape 2283">
              <a:extLst>
                <a:ext uri="{FF2B5EF4-FFF2-40B4-BE49-F238E27FC236}">
                  <a16:creationId xmlns:a16="http://schemas.microsoft.com/office/drawing/2014/main" id="{F62A04B5-2A09-A595-074B-6F18D63CEDD7}"/>
                </a:ext>
              </a:extLst>
            </p:cNvPr>
            <p:cNvSpPr/>
            <p:nvPr/>
          </p:nvSpPr>
          <p:spPr>
            <a:xfrm>
              <a:off x="9692012" y="2888156"/>
              <a:ext cx="164535" cy="81811"/>
            </a:xfrm>
            <a:custGeom>
              <a:avLst/>
              <a:gdLst>
                <a:gd name="connsiteX0" fmla="*/ 145178 w 164535"/>
                <a:gd name="connsiteY0" fmla="*/ 0 h 81811"/>
                <a:gd name="connsiteX1" fmla="*/ 164535 w 164535"/>
                <a:gd name="connsiteY1" fmla="*/ 29584 h 81811"/>
                <a:gd name="connsiteX2" fmla="*/ 1278 w 164535"/>
                <a:gd name="connsiteY2" fmla="*/ 81812 h 81811"/>
                <a:gd name="connsiteX3" fmla="*/ 30496 w 164535"/>
                <a:gd name="connsiteY3" fmla="*/ 50402 h 81811"/>
                <a:gd name="connsiteX4" fmla="*/ 145178 w 164535"/>
                <a:gd name="connsiteY4" fmla="*/ 0 h 81811"/>
                <a:gd name="connsiteX5" fmla="*/ 145178 w 164535"/>
                <a:gd name="connsiteY5" fmla="*/ 0 h 8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535" h="81811">
                  <a:moveTo>
                    <a:pt x="145178" y="0"/>
                  </a:moveTo>
                  <a:lnTo>
                    <a:pt x="164535" y="29584"/>
                  </a:lnTo>
                  <a:lnTo>
                    <a:pt x="1278" y="81812"/>
                  </a:lnTo>
                  <a:cubicBezTo>
                    <a:pt x="1278" y="81812"/>
                    <a:pt x="-9314" y="71585"/>
                    <a:pt x="30496" y="50402"/>
                  </a:cubicBezTo>
                  <a:cubicBezTo>
                    <a:pt x="76880" y="25931"/>
                    <a:pt x="145178" y="0"/>
                    <a:pt x="145178" y="0"/>
                  </a:cubicBezTo>
                  <a:lnTo>
                    <a:pt x="145178" y="0"/>
                  </a:lnTo>
                  <a:close/>
                </a:path>
              </a:pathLst>
            </a:custGeom>
            <a:solidFill>
              <a:srgbClr val="CECEC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8" name="Freeform: Shape 2284">
              <a:extLst>
                <a:ext uri="{FF2B5EF4-FFF2-40B4-BE49-F238E27FC236}">
                  <a16:creationId xmlns:a16="http://schemas.microsoft.com/office/drawing/2014/main" id="{D83071BB-EDBE-C505-B89C-19DD548B2683}"/>
                </a:ext>
              </a:extLst>
            </p:cNvPr>
            <p:cNvSpPr/>
            <p:nvPr/>
          </p:nvSpPr>
          <p:spPr>
            <a:xfrm>
              <a:off x="9847052" y="2888156"/>
              <a:ext cx="164535" cy="81811"/>
            </a:xfrm>
            <a:custGeom>
              <a:avLst/>
              <a:gdLst>
                <a:gd name="connsiteX0" fmla="*/ 19357 w 164535"/>
                <a:gd name="connsiteY0" fmla="*/ 0 h 81811"/>
                <a:gd name="connsiteX1" fmla="*/ 0 w 164535"/>
                <a:gd name="connsiteY1" fmla="*/ 29584 h 81811"/>
                <a:gd name="connsiteX2" fmla="*/ 163258 w 164535"/>
                <a:gd name="connsiteY2" fmla="*/ 81812 h 81811"/>
                <a:gd name="connsiteX3" fmla="*/ 134039 w 164535"/>
                <a:gd name="connsiteY3" fmla="*/ 50402 h 81811"/>
                <a:gd name="connsiteX4" fmla="*/ 19357 w 164535"/>
                <a:gd name="connsiteY4" fmla="*/ 0 h 81811"/>
                <a:gd name="connsiteX5" fmla="*/ 19357 w 164535"/>
                <a:gd name="connsiteY5" fmla="*/ 0 h 8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535" h="81811">
                  <a:moveTo>
                    <a:pt x="19357" y="0"/>
                  </a:moveTo>
                  <a:lnTo>
                    <a:pt x="0" y="29584"/>
                  </a:lnTo>
                  <a:lnTo>
                    <a:pt x="163258" y="81812"/>
                  </a:lnTo>
                  <a:cubicBezTo>
                    <a:pt x="163258" y="81812"/>
                    <a:pt x="173850" y="71585"/>
                    <a:pt x="134039" y="50402"/>
                  </a:cubicBezTo>
                  <a:cubicBezTo>
                    <a:pt x="87655" y="25931"/>
                    <a:pt x="19357" y="0"/>
                    <a:pt x="19357" y="0"/>
                  </a:cubicBezTo>
                  <a:lnTo>
                    <a:pt x="19357" y="0"/>
                  </a:lnTo>
                  <a:close/>
                </a:path>
              </a:pathLst>
            </a:custGeom>
            <a:solidFill>
              <a:srgbClr val="CECEC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9" name="Freeform: Shape 2285">
              <a:extLst>
                <a:ext uri="{FF2B5EF4-FFF2-40B4-BE49-F238E27FC236}">
                  <a16:creationId xmlns:a16="http://schemas.microsoft.com/office/drawing/2014/main" id="{D4DF32B4-635B-83FE-EDCD-9689591E4A7C}"/>
                </a:ext>
              </a:extLst>
            </p:cNvPr>
            <p:cNvSpPr/>
            <p:nvPr/>
          </p:nvSpPr>
          <p:spPr>
            <a:xfrm>
              <a:off x="9834634" y="2800136"/>
              <a:ext cx="33966" cy="121256"/>
            </a:xfrm>
            <a:custGeom>
              <a:avLst/>
              <a:gdLst>
                <a:gd name="connsiteX0" fmla="*/ 0 w 33966"/>
                <a:gd name="connsiteY0" fmla="*/ 0 h 121256"/>
                <a:gd name="connsiteX1" fmla="*/ 33966 w 33966"/>
                <a:gd name="connsiteY1" fmla="*/ 0 h 121256"/>
                <a:gd name="connsiteX2" fmla="*/ 33966 w 33966"/>
                <a:gd name="connsiteY2" fmla="*/ 121256 h 121256"/>
                <a:gd name="connsiteX3" fmla="*/ 0 w 33966"/>
                <a:gd name="connsiteY3" fmla="*/ 121256 h 121256"/>
              </a:gdLst>
              <a:ahLst/>
              <a:cxnLst>
                <a:cxn ang="0">
                  <a:pos x="connsiteX0" y="connsiteY0"/>
                </a:cxn>
                <a:cxn ang="0">
                  <a:pos x="connsiteX1" y="connsiteY1"/>
                </a:cxn>
                <a:cxn ang="0">
                  <a:pos x="connsiteX2" y="connsiteY2"/>
                </a:cxn>
                <a:cxn ang="0">
                  <a:pos x="connsiteX3" y="connsiteY3"/>
                </a:cxn>
              </a:cxnLst>
              <a:rect l="l" t="t" r="r" b="b"/>
              <a:pathLst>
                <a:path w="33966" h="121256">
                  <a:moveTo>
                    <a:pt x="0" y="0"/>
                  </a:moveTo>
                  <a:lnTo>
                    <a:pt x="33966" y="0"/>
                  </a:lnTo>
                  <a:lnTo>
                    <a:pt x="33966" y="121256"/>
                  </a:lnTo>
                  <a:lnTo>
                    <a:pt x="0" y="121256"/>
                  </a:lnTo>
                  <a:close/>
                </a:path>
              </a:pathLst>
            </a:custGeom>
            <a:solidFill>
              <a:srgbClr val="CECEC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0" name="Freeform: Shape 2286">
              <a:extLst>
                <a:ext uri="{FF2B5EF4-FFF2-40B4-BE49-F238E27FC236}">
                  <a16:creationId xmlns:a16="http://schemas.microsoft.com/office/drawing/2014/main" id="{79228B17-6F13-12C7-96FA-1BD251526FDF}"/>
                </a:ext>
              </a:extLst>
            </p:cNvPr>
            <p:cNvSpPr/>
            <p:nvPr/>
          </p:nvSpPr>
          <p:spPr>
            <a:xfrm>
              <a:off x="9710728" y="2894365"/>
              <a:ext cx="140706" cy="78159"/>
            </a:xfrm>
            <a:custGeom>
              <a:avLst/>
              <a:gdLst>
                <a:gd name="connsiteX0" fmla="*/ 124271 w 140706"/>
                <a:gd name="connsiteY0" fmla="*/ 0 h 78159"/>
                <a:gd name="connsiteX1" fmla="*/ 140706 w 140706"/>
                <a:gd name="connsiteY1" fmla="*/ 28123 h 78159"/>
                <a:gd name="connsiteX2" fmla="*/ 1188 w 140706"/>
                <a:gd name="connsiteY2" fmla="*/ 78159 h 78159"/>
                <a:gd name="connsiteX3" fmla="*/ 26389 w 140706"/>
                <a:gd name="connsiteY3" fmla="*/ 48210 h 78159"/>
                <a:gd name="connsiteX4" fmla="*/ 124271 w 140706"/>
                <a:gd name="connsiteY4" fmla="*/ 0 h 78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06" h="78159">
                  <a:moveTo>
                    <a:pt x="124271" y="0"/>
                  </a:moveTo>
                  <a:lnTo>
                    <a:pt x="140706" y="28123"/>
                  </a:lnTo>
                  <a:lnTo>
                    <a:pt x="1188" y="78159"/>
                  </a:lnTo>
                  <a:cubicBezTo>
                    <a:pt x="1188" y="78159"/>
                    <a:pt x="-8308" y="68298"/>
                    <a:pt x="26389" y="48210"/>
                  </a:cubicBezTo>
                  <a:cubicBezTo>
                    <a:pt x="66199" y="25201"/>
                    <a:pt x="124271" y="0"/>
                    <a:pt x="124271" y="0"/>
                  </a:cubicBezTo>
                  <a:close/>
                </a:path>
              </a:pathLst>
            </a:custGeom>
            <a:solidFill>
              <a:srgbClr val="B3B3B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1" name="Freeform: Shape 2287">
              <a:extLst>
                <a:ext uri="{FF2B5EF4-FFF2-40B4-BE49-F238E27FC236}">
                  <a16:creationId xmlns:a16="http://schemas.microsoft.com/office/drawing/2014/main" id="{29CDF2BE-FF90-6433-320C-A44FE6918D47}"/>
                </a:ext>
              </a:extLst>
            </p:cNvPr>
            <p:cNvSpPr/>
            <p:nvPr/>
          </p:nvSpPr>
          <p:spPr>
            <a:xfrm>
              <a:off x="9852165" y="2894365"/>
              <a:ext cx="140706" cy="78159"/>
            </a:xfrm>
            <a:custGeom>
              <a:avLst/>
              <a:gdLst>
                <a:gd name="connsiteX0" fmla="*/ 16435 w 140706"/>
                <a:gd name="connsiteY0" fmla="*/ 0 h 78159"/>
                <a:gd name="connsiteX1" fmla="*/ 0 w 140706"/>
                <a:gd name="connsiteY1" fmla="*/ 28123 h 78159"/>
                <a:gd name="connsiteX2" fmla="*/ 139518 w 140706"/>
                <a:gd name="connsiteY2" fmla="*/ 78159 h 78159"/>
                <a:gd name="connsiteX3" fmla="*/ 114317 w 140706"/>
                <a:gd name="connsiteY3" fmla="*/ 48210 h 78159"/>
                <a:gd name="connsiteX4" fmla="*/ 16435 w 140706"/>
                <a:gd name="connsiteY4" fmla="*/ 0 h 78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06" h="78159">
                  <a:moveTo>
                    <a:pt x="16435" y="0"/>
                  </a:moveTo>
                  <a:lnTo>
                    <a:pt x="0" y="28123"/>
                  </a:lnTo>
                  <a:lnTo>
                    <a:pt x="139518" y="78159"/>
                  </a:lnTo>
                  <a:cubicBezTo>
                    <a:pt x="139518" y="78159"/>
                    <a:pt x="149014" y="68298"/>
                    <a:pt x="114317" y="48210"/>
                  </a:cubicBezTo>
                  <a:cubicBezTo>
                    <a:pt x="74507" y="25201"/>
                    <a:pt x="16435" y="0"/>
                    <a:pt x="16435" y="0"/>
                  </a:cubicBezTo>
                  <a:close/>
                </a:path>
              </a:pathLst>
            </a:custGeom>
            <a:solidFill>
              <a:srgbClr val="B3B3B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2" name="Freeform: Shape 2288">
              <a:extLst>
                <a:ext uri="{FF2B5EF4-FFF2-40B4-BE49-F238E27FC236}">
                  <a16:creationId xmlns:a16="http://schemas.microsoft.com/office/drawing/2014/main" id="{6C7A8BC6-A239-BD41-9F69-B8C9693ACC3B}"/>
                </a:ext>
              </a:extLst>
            </p:cNvPr>
            <p:cNvSpPr/>
            <p:nvPr/>
          </p:nvSpPr>
          <p:spPr>
            <a:xfrm>
              <a:off x="9704246" y="2971794"/>
              <a:ext cx="23374" cy="23739"/>
            </a:xfrm>
            <a:custGeom>
              <a:avLst/>
              <a:gdLst>
                <a:gd name="connsiteX0" fmla="*/ 23375 w 23374"/>
                <a:gd name="connsiteY0" fmla="*/ 12053 h 23739"/>
                <a:gd name="connsiteX1" fmla="*/ 11687 w 23374"/>
                <a:gd name="connsiteY1" fmla="*/ 23740 h 23739"/>
                <a:gd name="connsiteX2" fmla="*/ 0 w 23374"/>
                <a:gd name="connsiteY2" fmla="*/ 12053 h 23739"/>
                <a:gd name="connsiteX3" fmla="*/ 11687 w 23374"/>
                <a:gd name="connsiteY3" fmla="*/ 0 h 23739"/>
                <a:gd name="connsiteX4" fmla="*/ 23375 w 23374"/>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74" h="23739">
                  <a:moveTo>
                    <a:pt x="23375" y="12053"/>
                  </a:moveTo>
                  <a:cubicBezTo>
                    <a:pt x="23375" y="18627"/>
                    <a:pt x="17896" y="23740"/>
                    <a:pt x="11687" y="23740"/>
                  </a:cubicBezTo>
                  <a:cubicBezTo>
                    <a:pt x="5478" y="23740"/>
                    <a:pt x="0" y="18262"/>
                    <a:pt x="0" y="12053"/>
                  </a:cubicBezTo>
                  <a:cubicBezTo>
                    <a:pt x="0" y="5844"/>
                    <a:pt x="5478" y="0"/>
                    <a:pt x="11687" y="0"/>
                  </a:cubicBezTo>
                  <a:cubicBezTo>
                    <a:pt x="17896" y="0"/>
                    <a:pt x="23375" y="5478"/>
                    <a:pt x="23375" y="12053"/>
                  </a:cubicBez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3" name="Freeform: Shape 2289">
              <a:extLst>
                <a:ext uri="{FF2B5EF4-FFF2-40B4-BE49-F238E27FC236}">
                  <a16:creationId xmlns:a16="http://schemas.microsoft.com/office/drawing/2014/main" id="{EDD44B69-7D40-4F9D-81A2-050FB36DC3AF}"/>
                </a:ext>
              </a:extLst>
            </p:cNvPr>
            <p:cNvSpPr/>
            <p:nvPr/>
          </p:nvSpPr>
          <p:spPr>
            <a:xfrm>
              <a:off x="9974882" y="2971794"/>
              <a:ext cx="23374" cy="23739"/>
            </a:xfrm>
            <a:custGeom>
              <a:avLst/>
              <a:gdLst>
                <a:gd name="connsiteX0" fmla="*/ 23375 w 23374"/>
                <a:gd name="connsiteY0" fmla="*/ 12053 h 23739"/>
                <a:gd name="connsiteX1" fmla="*/ 11687 w 23374"/>
                <a:gd name="connsiteY1" fmla="*/ 23740 h 23739"/>
                <a:gd name="connsiteX2" fmla="*/ 0 w 23374"/>
                <a:gd name="connsiteY2" fmla="*/ 12053 h 23739"/>
                <a:gd name="connsiteX3" fmla="*/ 11687 w 23374"/>
                <a:gd name="connsiteY3" fmla="*/ 0 h 23739"/>
                <a:gd name="connsiteX4" fmla="*/ 23375 w 23374"/>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74" h="23739">
                  <a:moveTo>
                    <a:pt x="23375" y="12053"/>
                  </a:moveTo>
                  <a:cubicBezTo>
                    <a:pt x="23375" y="18627"/>
                    <a:pt x="17896" y="23740"/>
                    <a:pt x="11687" y="23740"/>
                  </a:cubicBezTo>
                  <a:cubicBezTo>
                    <a:pt x="5478" y="23740"/>
                    <a:pt x="0" y="18262"/>
                    <a:pt x="0" y="12053"/>
                  </a:cubicBezTo>
                  <a:cubicBezTo>
                    <a:pt x="0" y="5844"/>
                    <a:pt x="5478" y="0"/>
                    <a:pt x="11687" y="0"/>
                  </a:cubicBezTo>
                  <a:cubicBezTo>
                    <a:pt x="17896" y="0"/>
                    <a:pt x="23375" y="5478"/>
                    <a:pt x="23375" y="12053"/>
                  </a:cubicBez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4" name="Freeform: Shape 2290">
              <a:extLst>
                <a:ext uri="{FF2B5EF4-FFF2-40B4-BE49-F238E27FC236}">
                  <a16:creationId xmlns:a16="http://schemas.microsoft.com/office/drawing/2014/main" id="{0488C51E-7E66-96F2-0B8A-D19A2E61C9CC}"/>
                </a:ext>
              </a:extLst>
            </p:cNvPr>
            <p:cNvSpPr/>
            <p:nvPr/>
          </p:nvSpPr>
          <p:spPr>
            <a:xfrm>
              <a:off x="9675393" y="2971794"/>
              <a:ext cx="23374" cy="23739"/>
            </a:xfrm>
            <a:custGeom>
              <a:avLst/>
              <a:gdLst>
                <a:gd name="connsiteX0" fmla="*/ 23375 w 23374"/>
                <a:gd name="connsiteY0" fmla="*/ 12053 h 23739"/>
                <a:gd name="connsiteX1" fmla="*/ 11687 w 23374"/>
                <a:gd name="connsiteY1" fmla="*/ 23740 h 23739"/>
                <a:gd name="connsiteX2" fmla="*/ 0 w 23374"/>
                <a:gd name="connsiteY2" fmla="*/ 12053 h 23739"/>
                <a:gd name="connsiteX3" fmla="*/ 11687 w 23374"/>
                <a:gd name="connsiteY3" fmla="*/ 0 h 23739"/>
                <a:gd name="connsiteX4" fmla="*/ 23375 w 23374"/>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74" h="23739">
                  <a:moveTo>
                    <a:pt x="23375" y="12053"/>
                  </a:moveTo>
                  <a:cubicBezTo>
                    <a:pt x="23375" y="18627"/>
                    <a:pt x="17896" y="23740"/>
                    <a:pt x="11687" y="23740"/>
                  </a:cubicBezTo>
                  <a:cubicBezTo>
                    <a:pt x="5478" y="23740"/>
                    <a:pt x="0" y="18262"/>
                    <a:pt x="0" y="12053"/>
                  </a:cubicBezTo>
                  <a:cubicBezTo>
                    <a:pt x="0" y="5844"/>
                    <a:pt x="5478" y="0"/>
                    <a:pt x="11687" y="0"/>
                  </a:cubicBezTo>
                  <a:cubicBezTo>
                    <a:pt x="17896" y="0"/>
                    <a:pt x="23375" y="5478"/>
                    <a:pt x="23375" y="12053"/>
                  </a:cubicBezTo>
                  <a:close/>
                </a:path>
              </a:pathLst>
            </a:custGeom>
            <a:solidFill>
              <a:srgbClr val="4D5E6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5" name="Freeform: Shape 2291">
              <a:extLst>
                <a:ext uri="{FF2B5EF4-FFF2-40B4-BE49-F238E27FC236}">
                  <a16:creationId xmlns:a16="http://schemas.microsoft.com/office/drawing/2014/main" id="{18CEAE4A-7535-8995-4BD4-79180FF2A3B7}"/>
                </a:ext>
              </a:extLst>
            </p:cNvPr>
            <p:cNvSpPr/>
            <p:nvPr/>
          </p:nvSpPr>
          <p:spPr>
            <a:xfrm>
              <a:off x="10003370" y="2971794"/>
              <a:ext cx="23739" cy="23739"/>
            </a:xfrm>
            <a:custGeom>
              <a:avLst/>
              <a:gdLst>
                <a:gd name="connsiteX0" fmla="*/ 23740 w 23739"/>
                <a:gd name="connsiteY0" fmla="*/ 12053 h 23739"/>
                <a:gd name="connsiteX1" fmla="*/ 11687 w 23739"/>
                <a:gd name="connsiteY1" fmla="*/ 23740 h 23739"/>
                <a:gd name="connsiteX2" fmla="*/ 0 w 23739"/>
                <a:gd name="connsiteY2" fmla="*/ 12053 h 23739"/>
                <a:gd name="connsiteX3" fmla="*/ 11687 w 23739"/>
                <a:gd name="connsiteY3" fmla="*/ 0 h 23739"/>
                <a:gd name="connsiteX4" fmla="*/ 23740 w 23739"/>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39" h="23739">
                  <a:moveTo>
                    <a:pt x="23740" y="12053"/>
                  </a:moveTo>
                  <a:cubicBezTo>
                    <a:pt x="23740" y="18627"/>
                    <a:pt x="18262" y="23740"/>
                    <a:pt x="11687" y="23740"/>
                  </a:cubicBezTo>
                  <a:cubicBezTo>
                    <a:pt x="5113" y="23740"/>
                    <a:pt x="0" y="18262"/>
                    <a:pt x="0" y="12053"/>
                  </a:cubicBezTo>
                  <a:cubicBezTo>
                    <a:pt x="0" y="5844"/>
                    <a:pt x="5478" y="0"/>
                    <a:pt x="11687" y="0"/>
                  </a:cubicBezTo>
                  <a:cubicBezTo>
                    <a:pt x="17896" y="0"/>
                    <a:pt x="23740" y="5478"/>
                    <a:pt x="23740" y="12053"/>
                  </a:cubicBezTo>
                  <a:close/>
                </a:path>
              </a:pathLst>
            </a:custGeom>
            <a:solidFill>
              <a:srgbClr val="4D5E6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6" name="Freeform: Shape 2292">
              <a:extLst>
                <a:ext uri="{FF2B5EF4-FFF2-40B4-BE49-F238E27FC236}">
                  <a16:creationId xmlns:a16="http://schemas.microsoft.com/office/drawing/2014/main" id="{FE9F0381-83EE-B981-8C76-97A9C37C0E12}"/>
                </a:ext>
              </a:extLst>
            </p:cNvPr>
            <p:cNvSpPr/>
            <p:nvPr/>
          </p:nvSpPr>
          <p:spPr>
            <a:xfrm>
              <a:off x="9838651" y="2755212"/>
              <a:ext cx="25200" cy="43827"/>
            </a:xfrm>
            <a:custGeom>
              <a:avLst/>
              <a:gdLst>
                <a:gd name="connsiteX0" fmla="*/ 0 w 25200"/>
                <a:gd name="connsiteY0" fmla="*/ 0 h 43827"/>
                <a:gd name="connsiteX1" fmla="*/ 25201 w 25200"/>
                <a:gd name="connsiteY1" fmla="*/ 0 h 43827"/>
                <a:gd name="connsiteX2" fmla="*/ 25201 w 25200"/>
                <a:gd name="connsiteY2" fmla="*/ 43828 h 43827"/>
                <a:gd name="connsiteX3" fmla="*/ 0 w 25200"/>
                <a:gd name="connsiteY3" fmla="*/ 43828 h 43827"/>
              </a:gdLst>
              <a:ahLst/>
              <a:cxnLst>
                <a:cxn ang="0">
                  <a:pos x="connsiteX0" y="connsiteY0"/>
                </a:cxn>
                <a:cxn ang="0">
                  <a:pos x="connsiteX1" y="connsiteY1"/>
                </a:cxn>
                <a:cxn ang="0">
                  <a:pos x="connsiteX2" y="connsiteY2"/>
                </a:cxn>
                <a:cxn ang="0">
                  <a:pos x="connsiteX3" y="connsiteY3"/>
                </a:cxn>
              </a:cxnLst>
              <a:rect l="l" t="t" r="r" b="b"/>
              <a:pathLst>
                <a:path w="25200" h="43827">
                  <a:moveTo>
                    <a:pt x="0" y="0"/>
                  </a:moveTo>
                  <a:lnTo>
                    <a:pt x="25201" y="0"/>
                  </a:lnTo>
                  <a:lnTo>
                    <a:pt x="25201" y="43828"/>
                  </a:lnTo>
                  <a:lnTo>
                    <a:pt x="0" y="43828"/>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7" name="Freeform: Shape 2293">
              <a:extLst>
                <a:ext uri="{FF2B5EF4-FFF2-40B4-BE49-F238E27FC236}">
                  <a16:creationId xmlns:a16="http://schemas.microsoft.com/office/drawing/2014/main" id="{79DB7847-E32C-2D3A-81D0-4C279D7F2C1F}"/>
                </a:ext>
              </a:extLst>
            </p:cNvPr>
            <p:cNvSpPr/>
            <p:nvPr/>
          </p:nvSpPr>
          <p:spPr>
            <a:xfrm>
              <a:off x="9820390" y="2708454"/>
              <a:ext cx="62089" cy="48219"/>
            </a:xfrm>
            <a:custGeom>
              <a:avLst/>
              <a:gdLst>
                <a:gd name="connsiteX0" fmla="*/ 62089 w 62089"/>
                <a:gd name="connsiteY0" fmla="*/ 24114 h 48219"/>
                <a:gd name="connsiteX1" fmla="*/ 37984 w 62089"/>
                <a:gd name="connsiteY1" fmla="*/ 48219 h 48219"/>
                <a:gd name="connsiteX2" fmla="*/ 24105 w 62089"/>
                <a:gd name="connsiteY2" fmla="*/ 48219 h 48219"/>
                <a:gd name="connsiteX3" fmla="*/ 0 w 62089"/>
                <a:gd name="connsiteY3" fmla="*/ 24114 h 48219"/>
                <a:gd name="connsiteX4" fmla="*/ 0 w 62089"/>
                <a:gd name="connsiteY4" fmla="*/ 24114 h 48219"/>
                <a:gd name="connsiteX5" fmla="*/ 24105 w 62089"/>
                <a:gd name="connsiteY5" fmla="*/ 9 h 48219"/>
                <a:gd name="connsiteX6" fmla="*/ 37984 w 62089"/>
                <a:gd name="connsiteY6" fmla="*/ 9 h 48219"/>
                <a:gd name="connsiteX7" fmla="*/ 62089 w 62089"/>
                <a:gd name="connsiteY7" fmla="*/ 24114 h 48219"/>
                <a:gd name="connsiteX8" fmla="*/ 62089 w 62089"/>
                <a:gd name="connsiteY8" fmla="*/ 24114 h 48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089" h="48219">
                  <a:moveTo>
                    <a:pt x="62089" y="24114"/>
                  </a:moveTo>
                  <a:cubicBezTo>
                    <a:pt x="62089" y="37628"/>
                    <a:pt x="51497" y="48219"/>
                    <a:pt x="37984" y="48219"/>
                  </a:cubicBezTo>
                  <a:lnTo>
                    <a:pt x="24105" y="48219"/>
                  </a:lnTo>
                  <a:cubicBezTo>
                    <a:pt x="10592" y="48219"/>
                    <a:pt x="0" y="37628"/>
                    <a:pt x="0" y="24114"/>
                  </a:cubicBezTo>
                  <a:lnTo>
                    <a:pt x="0" y="24114"/>
                  </a:lnTo>
                  <a:cubicBezTo>
                    <a:pt x="0" y="10601"/>
                    <a:pt x="10592" y="9"/>
                    <a:pt x="24105" y="9"/>
                  </a:cubicBezTo>
                  <a:lnTo>
                    <a:pt x="37984" y="9"/>
                  </a:lnTo>
                  <a:cubicBezTo>
                    <a:pt x="51132" y="-356"/>
                    <a:pt x="62089" y="10601"/>
                    <a:pt x="62089" y="24114"/>
                  </a:cubicBezTo>
                  <a:lnTo>
                    <a:pt x="62089" y="24114"/>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8" name="Freeform: Shape 2294">
              <a:extLst>
                <a:ext uri="{FF2B5EF4-FFF2-40B4-BE49-F238E27FC236}">
                  <a16:creationId xmlns:a16="http://schemas.microsoft.com/office/drawing/2014/main" id="{D3AE61DE-9E9A-BC0B-3131-9358AED3CDA4}"/>
                </a:ext>
              </a:extLst>
            </p:cNvPr>
            <p:cNvSpPr/>
            <p:nvPr/>
          </p:nvSpPr>
          <p:spPr>
            <a:xfrm>
              <a:off x="9665532" y="2650757"/>
              <a:ext cx="372169" cy="59167"/>
            </a:xfrm>
            <a:custGeom>
              <a:avLst/>
              <a:gdLst>
                <a:gd name="connsiteX0" fmla="*/ 371439 w 372169"/>
                <a:gd name="connsiteY0" fmla="*/ 59167 h 59167"/>
                <a:gd name="connsiteX1" fmla="*/ 372170 w 372169"/>
                <a:gd name="connsiteY1" fmla="*/ 35427 h 59167"/>
                <a:gd name="connsiteX2" fmla="*/ 344047 w 372169"/>
                <a:gd name="connsiteY2" fmla="*/ 0 h 59167"/>
                <a:gd name="connsiteX3" fmla="*/ 28123 w 372169"/>
                <a:gd name="connsiteY3" fmla="*/ 0 h 59167"/>
                <a:gd name="connsiteX4" fmla="*/ 0 w 372169"/>
                <a:gd name="connsiteY4" fmla="*/ 35427 h 59167"/>
                <a:gd name="connsiteX5" fmla="*/ 731 w 372169"/>
                <a:gd name="connsiteY5" fmla="*/ 59167 h 59167"/>
                <a:gd name="connsiteX6" fmla="*/ 371804 w 372169"/>
                <a:gd name="connsiteY6" fmla="*/ 59167 h 59167"/>
                <a:gd name="connsiteX7" fmla="*/ 371439 w 372169"/>
                <a:gd name="connsiteY7" fmla="*/ 59167 h 59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169" h="59167">
                  <a:moveTo>
                    <a:pt x="371439" y="59167"/>
                  </a:moveTo>
                  <a:cubicBezTo>
                    <a:pt x="371804" y="56611"/>
                    <a:pt x="372170" y="37984"/>
                    <a:pt x="372170" y="35427"/>
                  </a:cubicBezTo>
                  <a:cubicBezTo>
                    <a:pt x="372170" y="15705"/>
                    <a:pt x="359752" y="0"/>
                    <a:pt x="344047" y="0"/>
                  </a:cubicBezTo>
                  <a:lnTo>
                    <a:pt x="28123" y="0"/>
                  </a:lnTo>
                  <a:cubicBezTo>
                    <a:pt x="12418" y="0"/>
                    <a:pt x="0" y="16070"/>
                    <a:pt x="0" y="35427"/>
                  </a:cubicBezTo>
                  <a:cubicBezTo>
                    <a:pt x="0" y="38714"/>
                    <a:pt x="0" y="56611"/>
                    <a:pt x="731" y="59167"/>
                  </a:cubicBezTo>
                  <a:lnTo>
                    <a:pt x="371804" y="59167"/>
                  </a:lnTo>
                  <a:lnTo>
                    <a:pt x="371439" y="59167"/>
                  </a:lnTo>
                  <a:close/>
                </a:path>
              </a:pathLst>
            </a:custGeom>
            <a:solidFill>
              <a:srgbClr val="5380A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9" name="Freeform: Shape 2295">
              <a:extLst>
                <a:ext uri="{FF2B5EF4-FFF2-40B4-BE49-F238E27FC236}">
                  <a16:creationId xmlns:a16="http://schemas.microsoft.com/office/drawing/2014/main" id="{2E014178-4375-95AA-CC1B-8EED311CFD4E}"/>
                </a:ext>
              </a:extLst>
            </p:cNvPr>
            <p:cNvSpPr/>
            <p:nvPr/>
          </p:nvSpPr>
          <p:spPr>
            <a:xfrm>
              <a:off x="9661880" y="2709193"/>
              <a:ext cx="379108" cy="21183"/>
            </a:xfrm>
            <a:custGeom>
              <a:avLst/>
              <a:gdLst>
                <a:gd name="connsiteX0" fmla="*/ 0 w 379108"/>
                <a:gd name="connsiteY0" fmla="*/ 10592 h 21183"/>
                <a:gd name="connsiteX1" fmla="*/ 8035 w 379108"/>
                <a:gd name="connsiteY1" fmla="*/ 21183 h 21183"/>
                <a:gd name="connsiteX2" fmla="*/ 371074 w 379108"/>
                <a:gd name="connsiteY2" fmla="*/ 21183 h 21183"/>
                <a:gd name="connsiteX3" fmla="*/ 379109 w 379108"/>
                <a:gd name="connsiteY3" fmla="*/ 10592 h 21183"/>
                <a:gd name="connsiteX4" fmla="*/ 379109 w 379108"/>
                <a:gd name="connsiteY4" fmla="*/ 10592 h 21183"/>
                <a:gd name="connsiteX5" fmla="*/ 371074 w 379108"/>
                <a:gd name="connsiteY5" fmla="*/ 0 h 21183"/>
                <a:gd name="connsiteX6" fmla="*/ 8035 w 379108"/>
                <a:gd name="connsiteY6" fmla="*/ 0 h 21183"/>
                <a:gd name="connsiteX7" fmla="*/ 0 w 379108"/>
                <a:gd name="connsiteY7" fmla="*/ 10592 h 21183"/>
                <a:gd name="connsiteX8" fmla="*/ 0 w 379108"/>
                <a:gd name="connsiteY8" fmla="*/ 10592 h 2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108" h="21183">
                  <a:moveTo>
                    <a:pt x="0" y="10592"/>
                  </a:moveTo>
                  <a:cubicBezTo>
                    <a:pt x="0" y="16435"/>
                    <a:pt x="3652" y="21183"/>
                    <a:pt x="8035" y="21183"/>
                  </a:cubicBezTo>
                  <a:lnTo>
                    <a:pt x="371074" y="21183"/>
                  </a:lnTo>
                  <a:cubicBezTo>
                    <a:pt x="375457" y="21183"/>
                    <a:pt x="379109" y="16435"/>
                    <a:pt x="379109" y="10592"/>
                  </a:cubicBezTo>
                  <a:lnTo>
                    <a:pt x="379109" y="10592"/>
                  </a:lnTo>
                  <a:cubicBezTo>
                    <a:pt x="379109" y="4748"/>
                    <a:pt x="375457" y="0"/>
                    <a:pt x="371074" y="0"/>
                  </a:cubicBezTo>
                  <a:lnTo>
                    <a:pt x="8035" y="0"/>
                  </a:lnTo>
                  <a:cubicBezTo>
                    <a:pt x="3287" y="0"/>
                    <a:pt x="0" y="4748"/>
                    <a:pt x="0" y="10592"/>
                  </a:cubicBezTo>
                  <a:lnTo>
                    <a:pt x="0" y="10592"/>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0" name="Freeform: Shape 2296">
              <a:extLst>
                <a:ext uri="{FF2B5EF4-FFF2-40B4-BE49-F238E27FC236}">
                  <a16:creationId xmlns:a16="http://schemas.microsoft.com/office/drawing/2014/main" id="{845072D4-D1B2-845B-AEB8-47853C65CFDF}"/>
                </a:ext>
              </a:extLst>
            </p:cNvPr>
            <p:cNvSpPr/>
            <p:nvPr/>
          </p:nvSpPr>
          <p:spPr>
            <a:xfrm>
              <a:off x="9615151" y="2233448"/>
              <a:ext cx="121273" cy="319428"/>
            </a:xfrm>
            <a:custGeom>
              <a:avLst/>
              <a:gdLst>
                <a:gd name="connsiteX0" fmla="*/ 105165 w 121273"/>
                <a:gd name="connsiteY0" fmla="*/ 1312 h 319428"/>
                <a:gd name="connsiteX1" fmla="*/ 29928 w 121273"/>
                <a:gd name="connsiteY1" fmla="*/ 55000 h 319428"/>
                <a:gd name="connsiteX2" fmla="*/ 2901 w 121273"/>
                <a:gd name="connsiteY2" fmla="*/ 275965 h 319428"/>
                <a:gd name="connsiteX3" fmla="*/ 70468 w 121273"/>
                <a:gd name="connsiteY3" fmla="*/ 319427 h 319428"/>
                <a:gd name="connsiteX4" fmla="*/ 84712 w 121273"/>
                <a:gd name="connsiteY4" fmla="*/ 269390 h 319428"/>
                <a:gd name="connsiteX5" fmla="*/ 116122 w 121273"/>
                <a:gd name="connsiteY5" fmla="*/ 153613 h 319428"/>
                <a:gd name="connsiteX6" fmla="*/ 105530 w 121273"/>
                <a:gd name="connsiteY6" fmla="*/ 2042 h 319428"/>
                <a:gd name="connsiteX7" fmla="*/ 105165 w 121273"/>
                <a:gd name="connsiteY7" fmla="*/ 1312 h 319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273" h="319428">
                  <a:moveTo>
                    <a:pt x="105165" y="1312"/>
                  </a:moveTo>
                  <a:cubicBezTo>
                    <a:pt x="105165" y="1312"/>
                    <a:pt x="52937" y="-13298"/>
                    <a:pt x="29928" y="55000"/>
                  </a:cubicBezTo>
                  <a:cubicBezTo>
                    <a:pt x="-5135" y="159821"/>
                    <a:pt x="-1847" y="255877"/>
                    <a:pt x="2901" y="275965"/>
                  </a:cubicBezTo>
                  <a:cubicBezTo>
                    <a:pt x="5092" y="285461"/>
                    <a:pt x="12031" y="317966"/>
                    <a:pt x="70468" y="319427"/>
                  </a:cubicBezTo>
                  <a:cubicBezTo>
                    <a:pt x="94208" y="319792"/>
                    <a:pt x="84712" y="269390"/>
                    <a:pt x="84712" y="269390"/>
                  </a:cubicBezTo>
                  <a:cubicBezTo>
                    <a:pt x="84712" y="269390"/>
                    <a:pt x="100052" y="226293"/>
                    <a:pt x="116122" y="153613"/>
                  </a:cubicBezTo>
                  <a:cubicBezTo>
                    <a:pt x="132192" y="80566"/>
                    <a:pt x="105530" y="2042"/>
                    <a:pt x="105530" y="2042"/>
                  </a:cubicBezTo>
                  <a:lnTo>
                    <a:pt x="105165" y="1312"/>
                  </a:lnTo>
                  <a:close/>
                </a:path>
              </a:pathLst>
            </a:custGeom>
            <a:solidFill>
              <a:schemeClr val="accent6">
                <a:lumMod val="40000"/>
                <a:lumOff val="60000"/>
              </a:schemeClr>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1" name="Freeform: Shape 2297">
              <a:extLst>
                <a:ext uri="{FF2B5EF4-FFF2-40B4-BE49-F238E27FC236}">
                  <a16:creationId xmlns:a16="http://schemas.microsoft.com/office/drawing/2014/main" id="{53B29885-876D-C97A-E12F-D52FFFE5043B}"/>
                </a:ext>
              </a:extLst>
            </p:cNvPr>
            <p:cNvSpPr/>
            <p:nvPr/>
          </p:nvSpPr>
          <p:spPr>
            <a:xfrm>
              <a:off x="9679046" y="2190567"/>
              <a:ext cx="363824" cy="355368"/>
            </a:xfrm>
            <a:custGeom>
              <a:avLst/>
              <a:gdLst>
                <a:gd name="connsiteX0" fmla="*/ 0 w 363824"/>
                <a:gd name="connsiteY0" fmla="*/ 50037 h 355368"/>
                <a:gd name="connsiteX1" fmla="*/ 134405 w 363824"/>
                <a:gd name="connsiteY1" fmla="*/ 6574 h 355368"/>
                <a:gd name="connsiteX2" fmla="*/ 235939 w 363824"/>
                <a:gd name="connsiteY2" fmla="*/ 0 h 355368"/>
                <a:gd name="connsiteX3" fmla="*/ 346969 w 363824"/>
                <a:gd name="connsiteY3" fmla="*/ 33601 h 355368"/>
                <a:gd name="connsiteX4" fmla="*/ 349525 w 363824"/>
                <a:gd name="connsiteY4" fmla="*/ 139153 h 355368"/>
                <a:gd name="connsiteX5" fmla="*/ 329072 w 363824"/>
                <a:gd name="connsiteY5" fmla="*/ 345873 h 355368"/>
                <a:gd name="connsiteX6" fmla="*/ 42001 w 363824"/>
                <a:gd name="connsiteY6" fmla="*/ 355369 h 355368"/>
                <a:gd name="connsiteX7" fmla="*/ 17531 w 363824"/>
                <a:gd name="connsiteY7" fmla="*/ 121622 h 355368"/>
                <a:gd name="connsiteX8" fmla="*/ 0 w 363824"/>
                <a:gd name="connsiteY8" fmla="*/ 50037 h 355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3824" h="355368">
                  <a:moveTo>
                    <a:pt x="0" y="50037"/>
                  </a:moveTo>
                  <a:lnTo>
                    <a:pt x="134405" y="6574"/>
                  </a:lnTo>
                  <a:lnTo>
                    <a:pt x="235939" y="0"/>
                  </a:lnTo>
                  <a:lnTo>
                    <a:pt x="346969" y="33601"/>
                  </a:lnTo>
                  <a:cubicBezTo>
                    <a:pt x="346969" y="33601"/>
                    <a:pt x="383127" y="58802"/>
                    <a:pt x="349525" y="139153"/>
                  </a:cubicBezTo>
                  <a:cubicBezTo>
                    <a:pt x="315559" y="219869"/>
                    <a:pt x="329072" y="345873"/>
                    <a:pt x="329072" y="345873"/>
                  </a:cubicBezTo>
                  <a:lnTo>
                    <a:pt x="42001" y="355369"/>
                  </a:lnTo>
                  <a:cubicBezTo>
                    <a:pt x="42001" y="355369"/>
                    <a:pt x="36523" y="238495"/>
                    <a:pt x="17531" y="121622"/>
                  </a:cubicBezTo>
                  <a:cubicBezTo>
                    <a:pt x="13513" y="95690"/>
                    <a:pt x="12783" y="64646"/>
                    <a:pt x="0" y="50037"/>
                  </a:cubicBezTo>
                  <a:close/>
                </a:path>
              </a:pathLst>
            </a:custGeom>
            <a:solidFill>
              <a:schemeClr val="accent6">
                <a:lumMod val="40000"/>
                <a:lumOff val="60000"/>
              </a:schemeClr>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2" name="Freeform: Shape 2298">
              <a:extLst>
                <a:ext uri="{FF2B5EF4-FFF2-40B4-BE49-F238E27FC236}">
                  <a16:creationId xmlns:a16="http://schemas.microsoft.com/office/drawing/2014/main" id="{28EE9648-0C0B-684E-2AF7-4E071BA036C4}"/>
                </a:ext>
              </a:extLst>
            </p:cNvPr>
            <p:cNvSpPr/>
            <p:nvPr/>
          </p:nvSpPr>
          <p:spPr>
            <a:xfrm>
              <a:off x="9849948" y="2198967"/>
              <a:ext cx="26789" cy="341490"/>
            </a:xfrm>
            <a:custGeom>
              <a:avLst/>
              <a:gdLst>
                <a:gd name="connsiteX0" fmla="*/ 25591 w 26789"/>
                <a:gd name="connsiteY0" fmla="*/ 341490 h 341490"/>
                <a:gd name="connsiteX1" fmla="*/ 10982 w 26789"/>
                <a:gd name="connsiteY1" fmla="*/ 341490 h 341490"/>
                <a:gd name="connsiteX2" fmla="*/ 13173 w 26789"/>
                <a:gd name="connsiteY2" fmla="*/ 0 h 341490"/>
                <a:gd name="connsiteX3" fmla="*/ 26687 w 26789"/>
                <a:gd name="connsiteY3" fmla="*/ 8035 h 341490"/>
                <a:gd name="connsiteX4" fmla="*/ 25591 w 26789"/>
                <a:gd name="connsiteY4" fmla="*/ 341490 h 341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9" h="341490">
                  <a:moveTo>
                    <a:pt x="25591" y="341490"/>
                  </a:moveTo>
                  <a:lnTo>
                    <a:pt x="10982" y="341490"/>
                  </a:lnTo>
                  <a:cubicBezTo>
                    <a:pt x="-4358" y="228634"/>
                    <a:pt x="-3627" y="112491"/>
                    <a:pt x="13173" y="0"/>
                  </a:cubicBezTo>
                  <a:cubicBezTo>
                    <a:pt x="17556" y="2557"/>
                    <a:pt x="22304" y="5478"/>
                    <a:pt x="26687" y="8035"/>
                  </a:cubicBezTo>
                  <a:cubicBezTo>
                    <a:pt x="23034" y="123083"/>
                    <a:pt x="29243" y="237765"/>
                    <a:pt x="25591" y="341490"/>
                  </a:cubicBezTo>
                  <a:close/>
                </a:path>
              </a:pathLst>
            </a:custGeom>
            <a:solidFill>
              <a:srgbClr val="5E9D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3" name="Freeform: Shape 2299">
              <a:extLst>
                <a:ext uri="{FF2B5EF4-FFF2-40B4-BE49-F238E27FC236}">
                  <a16:creationId xmlns:a16="http://schemas.microsoft.com/office/drawing/2014/main" id="{9E91853F-C365-3A05-D514-2213213BF63D}"/>
                </a:ext>
              </a:extLst>
            </p:cNvPr>
            <p:cNvSpPr/>
            <p:nvPr/>
          </p:nvSpPr>
          <p:spPr>
            <a:xfrm>
              <a:off x="9808839" y="2091042"/>
              <a:ext cx="113393" cy="167457"/>
            </a:xfrm>
            <a:custGeom>
              <a:avLst/>
              <a:gdLst>
                <a:gd name="connsiteX0" fmla="*/ 10090 w 113393"/>
                <a:gd name="connsiteY0" fmla="*/ 137874 h 167457"/>
                <a:gd name="connsiteX1" fmla="*/ 37847 w 113393"/>
                <a:gd name="connsiteY1" fmla="*/ 167458 h 167457"/>
                <a:gd name="connsiteX2" fmla="*/ 75831 w 113393"/>
                <a:gd name="connsiteY2" fmla="*/ 167458 h 167457"/>
                <a:gd name="connsiteX3" fmla="*/ 103589 w 113393"/>
                <a:gd name="connsiteY3" fmla="*/ 137874 h 167457"/>
                <a:gd name="connsiteX4" fmla="*/ 113085 w 113393"/>
                <a:gd name="connsiteY4" fmla="*/ 61176 h 167457"/>
                <a:gd name="connsiteX5" fmla="*/ 85692 w 113393"/>
                <a:gd name="connsiteY5" fmla="*/ 6026 h 167457"/>
                <a:gd name="connsiteX6" fmla="*/ 27621 w 113393"/>
                <a:gd name="connsiteY6" fmla="*/ 6026 h 167457"/>
                <a:gd name="connsiteX7" fmla="*/ 228 w 113393"/>
                <a:gd name="connsiteY7" fmla="*/ 61176 h 167457"/>
                <a:gd name="connsiteX8" fmla="*/ 9724 w 113393"/>
                <a:gd name="connsiteY8" fmla="*/ 137874 h 167457"/>
                <a:gd name="connsiteX9" fmla="*/ 10090 w 113393"/>
                <a:gd name="connsiteY9" fmla="*/ 137874 h 16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393" h="167457">
                  <a:moveTo>
                    <a:pt x="10090" y="137874"/>
                  </a:moveTo>
                  <a:cubicBezTo>
                    <a:pt x="11916" y="153579"/>
                    <a:pt x="24699" y="167093"/>
                    <a:pt x="37847" y="167458"/>
                  </a:cubicBezTo>
                  <a:lnTo>
                    <a:pt x="75831" y="167458"/>
                  </a:lnTo>
                  <a:cubicBezTo>
                    <a:pt x="89345" y="167093"/>
                    <a:pt x="101762" y="153579"/>
                    <a:pt x="103589" y="137874"/>
                  </a:cubicBezTo>
                  <a:cubicBezTo>
                    <a:pt x="106876" y="112308"/>
                    <a:pt x="109797" y="86742"/>
                    <a:pt x="113085" y="61176"/>
                  </a:cubicBezTo>
                  <a:cubicBezTo>
                    <a:pt x="115276" y="45836"/>
                    <a:pt x="105780" y="15157"/>
                    <a:pt x="85692" y="6026"/>
                  </a:cubicBezTo>
                  <a:cubicBezTo>
                    <a:pt x="67431" y="-2009"/>
                    <a:pt x="46247" y="-2009"/>
                    <a:pt x="27621" y="6026"/>
                  </a:cubicBezTo>
                  <a:cubicBezTo>
                    <a:pt x="7533" y="15157"/>
                    <a:pt x="-1598" y="45836"/>
                    <a:pt x="228" y="61176"/>
                  </a:cubicBezTo>
                  <a:cubicBezTo>
                    <a:pt x="3515" y="86742"/>
                    <a:pt x="6437" y="112308"/>
                    <a:pt x="9724" y="137874"/>
                  </a:cubicBezTo>
                  <a:lnTo>
                    <a:pt x="10090" y="137874"/>
                  </a:lnTo>
                  <a:close/>
                </a:path>
              </a:pathLst>
            </a:custGeom>
            <a:solidFill>
              <a:srgbClr val="B37C5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4" name="Freeform: Shape 2300">
              <a:extLst>
                <a:ext uri="{FF2B5EF4-FFF2-40B4-BE49-F238E27FC236}">
                  <a16:creationId xmlns:a16="http://schemas.microsoft.com/office/drawing/2014/main" id="{BB2A7A06-706C-FD14-CAA6-6238A51B117A}"/>
                </a:ext>
              </a:extLst>
            </p:cNvPr>
            <p:cNvSpPr/>
            <p:nvPr/>
          </p:nvSpPr>
          <p:spPr>
            <a:xfrm>
              <a:off x="9867139" y="2203715"/>
              <a:ext cx="67932" cy="96055"/>
            </a:xfrm>
            <a:custGeom>
              <a:avLst/>
              <a:gdLst>
                <a:gd name="connsiteX0" fmla="*/ 0 w 67932"/>
                <a:gd name="connsiteY0" fmla="*/ 56611 h 96055"/>
                <a:gd name="connsiteX1" fmla="*/ 24105 w 67932"/>
                <a:gd name="connsiteY1" fmla="*/ 96056 h 96055"/>
                <a:gd name="connsiteX2" fmla="*/ 67933 w 67932"/>
                <a:gd name="connsiteY2" fmla="*/ 40906 h 96055"/>
                <a:gd name="connsiteX3" fmla="*/ 61359 w 67932"/>
                <a:gd name="connsiteY3" fmla="*/ 11687 h 96055"/>
                <a:gd name="connsiteX4" fmla="*/ 47115 w 67932"/>
                <a:gd name="connsiteY4" fmla="*/ 0 h 96055"/>
                <a:gd name="connsiteX5" fmla="*/ 47115 w 67932"/>
                <a:gd name="connsiteY5" fmla="*/ 21914 h 96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932" h="96055">
                  <a:moveTo>
                    <a:pt x="0" y="56611"/>
                  </a:moveTo>
                  <a:lnTo>
                    <a:pt x="24105" y="96056"/>
                  </a:lnTo>
                  <a:lnTo>
                    <a:pt x="67933" y="40906"/>
                  </a:lnTo>
                  <a:lnTo>
                    <a:pt x="61359" y="11687"/>
                  </a:lnTo>
                  <a:lnTo>
                    <a:pt x="47115" y="0"/>
                  </a:lnTo>
                  <a:lnTo>
                    <a:pt x="47115" y="21914"/>
                  </a:lnTo>
                  <a:close/>
                </a:path>
              </a:pathLst>
            </a:custGeom>
            <a:solidFill>
              <a:srgbClr val="5E9D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5" name="Freeform: Shape 2301">
              <a:extLst>
                <a:ext uri="{FF2B5EF4-FFF2-40B4-BE49-F238E27FC236}">
                  <a16:creationId xmlns:a16="http://schemas.microsoft.com/office/drawing/2014/main" id="{9B50B638-3005-A5CE-9478-B6EDF70FD84E}"/>
                </a:ext>
              </a:extLst>
            </p:cNvPr>
            <p:cNvSpPr/>
            <p:nvPr/>
          </p:nvSpPr>
          <p:spPr>
            <a:xfrm>
              <a:off x="9799206" y="2203715"/>
              <a:ext cx="65376" cy="96055"/>
            </a:xfrm>
            <a:custGeom>
              <a:avLst/>
              <a:gdLst>
                <a:gd name="connsiteX0" fmla="*/ 65376 w 65376"/>
                <a:gd name="connsiteY0" fmla="*/ 56611 h 96055"/>
                <a:gd name="connsiteX1" fmla="*/ 41271 w 65376"/>
                <a:gd name="connsiteY1" fmla="*/ 96056 h 96055"/>
                <a:gd name="connsiteX2" fmla="*/ 0 w 65376"/>
                <a:gd name="connsiteY2" fmla="*/ 44923 h 96055"/>
                <a:gd name="connsiteX3" fmla="*/ 6574 w 65376"/>
                <a:gd name="connsiteY3" fmla="*/ 13148 h 96055"/>
                <a:gd name="connsiteX4" fmla="*/ 16801 w 65376"/>
                <a:gd name="connsiteY4" fmla="*/ 0 h 96055"/>
                <a:gd name="connsiteX5" fmla="*/ 21549 w 65376"/>
                <a:gd name="connsiteY5" fmla="*/ 25566 h 96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76" h="96055">
                  <a:moveTo>
                    <a:pt x="65376" y="56611"/>
                  </a:moveTo>
                  <a:lnTo>
                    <a:pt x="41271" y="96056"/>
                  </a:lnTo>
                  <a:lnTo>
                    <a:pt x="0" y="44923"/>
                  </a:lnTo>
                  <a:lnTo>
                    <a:pt x="6574" y="13148"/>
                  </a:lnTo>
                  <a:lnTo>
                    <a:pt x="16801" y="0"/>
                  </a:lnTo>
                  <a:lnTo>
                    <a:pt x="21549" y="25566"/>
                  </a:lnTo>
                  <a:close/>
                </a:path>
              </a:pathLst>
            </a:custGeom>
            <a:solidFill>
              <a:srgbClr val="5E9D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6" name="Freeform: Shape 2302">
              <a:extLst>
                <a:ext uri="{FF2B5EF4-FFF2-40B4-BE49-F238E27FC236}">
                  <a16:creationId xmlns:a16="http://schemas.microsoft.com/office/drawing/2014/main" id="{7B581E7E-150A-CA84-22BC-1A5092722A5A}"/>
                </a:ext>
              </a:extLst>
            </p:cNvPr>
            <p:cNvSpPr/>
            <p:nvPr/>
          </p:nvSpPr>
          <p:spPr>
            <a:xfrm>
              <a:off x="9863487" y="2048492"/>
              <a:ext cx="67567" cy="95690"/>
            </a:xfrm>
            <a:custGeom>
              <a:avLst/>
              <a:gdLst>
                <a:gd name="connsiteX0" fmla="*/ 8035 w 67567"/>
                <a:gd name="connsiteY0" fmla="*/ 0 h 95690"/>
                <a:gd name="connsiteX1" fmla="*/ 33601 w 67567"/>
                <a:gd name="connsiteY1" fmla="*/ 13879 h 95690"/>
                <a:gd name="connsiteX2" fmla="*/ 43828 w 67567"/>
                <a:gd name="connsiteY2" fmla="*/ 13879 h 95690"/>
                <a:gd name="connsiteX3" fmla="*/ 67568 w 67567"/>
                <a:gd name="connsiteY3" fmla="*/ 37619 h 95690"/>
                <a:gd name="connsiteX4" fmla="*/ 67568 w 67567"/>
                <a:gd name="connsiteY4" fmla="*/ 95690 h 95690"/>
                <a:gd name="connsiteX5" fmla="*/ 51132 w 67567"/>
                <a:gd name="connsiteY5" fmla="*/ 95690 h 95690"/>
                <a:gd name="connsiteX6" fmla="*/ 51132 w 67567"/>
                <a:gd name="connsiteY6" fmla="*/ 71950 h 95690"/>
                <a:gd name="connsiteX7" fmla="*/ 34697 w 67567"/>
                <a:gd name="connsiteY7" fmla="*/ 55515 h 95690"/>
                <a:gd name="connsiteX8" fmla="*/ 30314 w 67567"/>
                <a:gd name="connsiteY8" fmla="*/ 55515 h 95690"/>
                <a:gd name="connsiteX9" fmla="*/ 0 w 67567"/>
                <a:gd name="connsiteY9" fmla="*/ 25201 h 95690"/>
                <a:gd name="connsiteX10" fmla="*/ 0 w 67567"/>
                <a:gd name="connsiteY10" fmla="*/ 730 h 95690"/>
                <a:gd name="connsiteX11" fmla="*/ 8400 w 67567"/>
                <a:gd name="connsiteY11" fmla="*/ 730 h 95690"/>
                <a:gd name="connsiteX12" fmla="*/ 8035 w 67567"/>
                <a:gd name="connsiteY12" fmla="*/ 0 h 9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567" h="95690">
                  <a:moveTo>
                    <a:pt x="8035" y="0"/>
                  </a:moveTo>
                  <a:cubicBezTo>
                    <a:pt x="18627" y="0"/>
                    <a:pt x="28123" y="5478"/>
                    <a:pt x="33601" y="13879"/>
                  </a:cubicBezTo>
                  <a:lnTo>
                    <a:pt x="43828" y="13879"/>
                  </a:lnTo>
                  <a:cubicBezTo>
                    <a:pt x="56976" y="13879"/>
                    <a:pt x="67568" y="24105"/>
                    <a:pt x="67568" y="37619"/>
                  </a:cubicBezTo>
                  <a:lnTo>
                    <a:pt x="67568" y="95690"/>
                  </a:lnTo>
                  <a:lnTo>
                    <a:pt x="51132" y="95690"/>
                  </a:lnTo>
                  <a:lnTo>
                    <a:pt x="51132" y="71950"/>
                  </a:lnTo>
                  <a:cubicBezTo>
                    <a:pt x="51132" y="62820"/>
                    <a:pt x="43462" y="55515"/>
                    <a:pt x="34697" y="55515"/>
                  </a:cubicBezTo>
                  <a:lnTo>
                    <a:pt x="30314" y="55515"/>
                  </a:lnTo>
                  <a:cubicBezTo>
                    <a:pt x="13879" y="55515"/>
                    <a:pt x="0" y="42001"/>
                    <a:pt x="0" y="25201"/>
                  </a:cubicBezTo>
                  <a:lnTo>
                    <a:pt x="0" y="730"/>
                  </a:lnTo>
                  <a:lnTo>
                    <a:pt x="8400" y="730"/>
                  </a:lnTo>
                  <a:lnTo>
                    <a:pt x="8035" y="0"/>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7" name="Freeform: Shape 2303">
              <a:extLst>
                <a:ext uri="{FF2B5EF4-FFF2-40B4-BE49-F238E27FC236}">
                  <a16:creationId xmlns:a16="http://schemas.microsoft.com/office/drawing/2014/main" id="{977E1B94-D6B6-F85C-1E69-EBC96B3C565F}"/>
                </a:ext>
              </a:extLst>
            </p:cNvPr>
            <p:cNvSpPr/>
            <p:nvPr/>
          </p:nvSpPr>
          <p:spPr>
            <a:xfrm>
              <a:off x="9900740" y="2133591"/>
              <a:ext cx="29948" cy="46018"/>
            </a:xfrm>
            <a:custGeom>
              <a:avLst/>
              <a:gdLst>
                <a:gd name="connsiteX0" fmla="*/ 0 w 29948"/>
                <a:gd name="connsiteY0" fmla="*/ 31775 h 46018"/>
                <a:gd name="connsiteX1" fmla="*/ 14244 w 29948"/>
                <a:gd name="connsiteY1" fmla="*/ 46019 h 46018"/>
                <a:gd name="connsiteX2" fmla="*/ 15705 w 29948"/>
                <a:gd name="connsiteY2" fmla="*/ 46019 h 46018"/>
                <a:gd name="connsiteX3" fmla="*/ 29949 w 29948"/>
                <a:gd name="connsiteY3" fmla="*/ 31775 h 46018"/>
                <a:gd name="connsiteX4" fmla="*/ 29949 w 29948"/>
                <a:gd name="connsiteY4" fmla="*/ 14244 h 46018"/>
                <a:gd name="connsiteX5" fmla="*/ 15705 w 29948"/>
                <a:gd name="connsiteY5" fmla="*/ 0 h 46018"/>
                <a:gd name="connsiteX6" fmla="*/ 14244 w 29948"/>
                <a:gd name="connsiteY6" fmla="*/ 0 h 46018"/>
                <a:gd name="connsiteX7" fmla="*/ 1096 w 29948"/>
                <a:gd name="connsiteY7" fmla="*/ 8400 h 46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948" h="46018">
                  <a:moveTo>
                    <a:pt x="0" y="31775"/>
                  </a:moveTo>
                  <a:cubicBezTo>
                    <a:pt x="0" y="39810"/>
                    <a:pt x="6209" y="46019"/>
                    <a:pt x="14244" y="46019"/>
                  </a:cubicBezTo>
                  <a:lnTo>
                    <a:pt x="15705" y="46019"/>
                  </a:lnTo>
                  <a:cubicBezTo>
                    <a:pt x="23740" y="46019"/>
                    <a:pt x="29949" y="39810"/>
                    <a:pt x="29949" y="31775"/>
                  </a:cubicBezTo>
                  <a:lnTo>
                    <a:pt x="29949" y="14244"/>
                  </a:lnTo>
                  <a:cubicBezTo>
                    <a:pt x="29949" y="6209"/>
                    <a:pt x="23740" y="0"/>
                    <a:pt x="15705" y="0"/>
                  </a:cubicBezTo>
                  <a:lnTo>
                    <a:pt x="14244" y="0"/>
                  </a:lnTo>
                  <a:cubicBezTo>
                    <a:pt x="8400" y="0"/>
                    <a:pt x="3652" y="3652"/>
                    <a:pt x="1096" y="8400"/>
                  </a:cubicBezTo>
                </a:path>
              </a:pathLst>
            </a:custGeom>
            <a:solidFill>
              <a:srgbClr val="5E422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8" name="Freeform: Shape 2304">
              <a:extLst>
                <a:ext uri="{FF2B5EF4-FFF2-40B4-BE49-F238E27FC236}">
                  <a16:creationId xmlns:a16="http://schemas.microsoft.com/office/drawing/2014/main" id="{34335242-0315-028D-001F-CE412AA3C7BB}"/>
                </a:ext>
              </a:extLst>
            </p:cNvPr>
            <p:cNvSpPr/>
            <p:nvPr/>
          </p:nvSpPr>
          <p:spPr>
            <a:xfrm>
              <a:off x="9804320" y="2048127"/>
              <a:ext cx="79985" cy="53323"/>
            </a:xfrm>
            <a:custGeom>
              <a:avLst/>
              <a:gdLst>
                <a:gd name="connsiteX0" fmla="*/ 79985 w 79985"/>
                <a:gd name="connsiteY0" fmla="*/ 23375 h 53323"/>
                <a:gd name="connsiteX1" fmla="*/ 79985 w 79985"/>
                <a:gd name="connsiteY1" fmla="*/ 0 h 53323"/>
                <a:gd name="connsiteX2" fmla="*/ 30314 w 79985"/>
                <a:gd name="connsiteY2" fmla="*/ 0 h 53323"/>
                <a:gd name="connsiteX3" fmla="*/ 0 w 79985"/>
                <a:gd name="connsiteY3" fmla="*/ 30314 h 53323"/>
                <a:gd name="connsiteX4" fmla="*/ 0 w 79985"/>
                <a:gd name="connsiteY4" fmla="*/ 53324 h 53323"/>
                <a:gd name="connsiteX5" fmla="*/ 49671 w 79985"/>
                <a:gd name="connsiteY5" fmla="*/ 53324 h 53323"/>
                <a:gd name="connsiteX6" fmla="*/ 79985 w 79985"/>
                <a:gd name="connsiteY6" fmla="*/ 23009 h 53323"/>
                <a:gd name="connsiteX7" fmla="*/ 79985 w 79985"/>
                <a:gd name="connsiteY7" fmla="*/ 23375 h 53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985" h="53323">
                  <a:moveTo>
                    <a:pt x="79985" y="23375"/>
                  </a:moveTo>
                  <a:lnTo>
                    <a:pt x="79985" y="0"/>
                  </a:lnTo>
                  <a:lnTo>
                    <a:pt x="30314" y="0"/>
                  </a:lnTo>
                  <a:cubicBezTo>
                    <a:pt x="13879" y="0"/>
                    <a:pt x="0" y="13514"/>
                    <a:pt x="0" y="30314"/>
                  </a:cubicBezTo>
                  <a:lnTo>
                    <a:pt x="0" y="53324"/>
                  </a:lnTo>
                  <a:lnTo>
                    <a:pt x="49671" y="53324"/>
                  </a:lnTo>
                  <a:cubicBezTo>
                    <a:pt x="66107" y="53324"/>
                    <a:pt x="79985" y="39810"/>
                    <a:pt x="79985" y="23009"/>
                  </a:cubicBezTo>
                  <a:lnTo>
                    <a:pt x="79985" y="23375"/>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9" name="Freeform: Shape 2305">
              <a:extLst>
                <a:ext uri="{FF2B5EF4-FFF2-40B4-BE49-F238E27FC236}">
                  <a16:creationId xmlns:a16="http://schemas.microsoft.com/office/drawing/2014/main" id="{7BDA79C6-FF97-13C9-52E6-1647C6C4664C}"/>
                </a:ext>
              </a:extLst>
            </p:cNvPr>
            <p:cNvSpPr/>
            <p:nvPr/>
          </p:nvSpPr>
          <p:spPr>
            <a:xfrm>
              <a:off x="9808337" y="2061640"/>
              <a:ext cx="115412" cy="171019"/>
            </a:xfrm>
            <a:custGeom>
              <a:avLst/>
              <a:gdLst>
                <a:gd name="connsiteX0" fmla="*/ 365 w 115412"/>
                <a:gd name="connsiteY0" fmla="*/ 125639 h 171019"/>
                <a:gd name="connsiteX1" fmla="*/ 24836 w 115412"/>
                <a:gd name="connsiteY1" fmla="*/ 164719 h 171019"/>
                <a:gd name="connsiteX2" fmla="*/ 90942 w 115412"/>
                <a:gd name="connsiteY2" fmla="*/ 164719 h 171019"/>
                <a:gd name="connsiteX3" fmla="*/ 115413 w 115412"/>
                <a:gd name="connsiteY3" fmla="*/ 125639 h 171019"/>
                <a:gd name="connsiteX4" fmla="*/ 115413 w 115412"/>
                <a:gd name="connsiteY4" fmla="*/ 23009 h 171019"/>
                <a:gd name="connsiteX5" fmla="*/ 88386 w 115412"/>
                <a:gd name="connsiteY5" fmla="*/ 0 h 171019"/>
                <a:gd name="connsiteX6" fmla="*/ 27027 w 115412"/>
                <a:gd name="connsiteY6" fmla="*/ 0 h 171019"/>
                <a:gd name="connsiteX7" fmla="*/ 0 w 115412"/>
                <a:gd name="connsiteY7" fmla="*/ 23009 h 171019"/>
                <a:gd name="connsiteX8" fmla="*/ 0 w 115412"/>
                <a:gd name="connsiteY8" fmla="*/ 125639 h 171019"/>
                <a:gd name="connsiteX9" fmla="*/ 365 w 115412"/>
                <a:gd name="connsiteY9" fmla="*/ 125639 h 17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2" h="171019">
                  <a:moveTo>
                    <a:pt x="365" y="125639"/>
                  </a:moveTo>
                  <a:cubicBezTo>
                    <a:pt x="365" y="137692"/>
                    <a:pt x="9861" y="158145"/>
                    <a:pt x="24836" y="164719"/>
                  </a:cubicBezTo>
                  <a:cubicBezTo>
                    <a:pt x="45289" y="173119"/>
                    <a:pt x="70124" y="173119"/>
                    <a:pt x="90942" y="164719"/>
                  </a:cubicBezTo>
                  <a:cubicBezTo>
                    <a:pt x="106282" y="158510"/>
                    <a:pt x="115413" y="137692"/>
                    <a:pt x="115413" y="125639"/>
                  </a:cubicBezTo>
                  <a:lnTo>
                    <a:pt x="115413" y="23009"/>
                  </a:lnTo>
                  <a:cubicBezTo>
                    <a:pt x="115413" y="10957"/>
                    <a:pt x="103360" y="730"/>
                    <a:pt x="88386" y="0"/>
                  </a:cubicBezTo>
                  <a:lnTo>
                    <a:pt x="27027" y="0"/>
                  </a:lnTo>
                  <a:cubicBezTo>
                    <a:pt x="12418" y="0"/>
                    <a:pt x="0" y="10226"/>
                    <a:pt x="0" y="23009"/>
                  </a:cubicBezTo>
                  <a:lnTo>
                    <a:pt x="0" y="125639"/>
                  </a:lnTo>
                  <a:lnTo>
                    <a:pt x="365" y="125639"/>
                  </a:lnTo>
                  <a:close/>
                </a:path>
              </a:pathLst>
            </a:custGeom>
            <a:solidFill>
              <a:srgbClr val="B37C5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0" name="Freeform: Shape 2306">
              <a:extLst>
                <a:ext uri="{FF2B5EF4-FFF2-40B4-BE49-F238E27FC236}">
                  <a16:creationId xmlns:a16="http://schemas.microsoft.com/office/drawing/2014/main" id="{09DB045B-61A5-EB02-9BF1-F9A020BBCB5E}"/>
                </a:ext>
              </a:extLst>
            </p:cNvPr>
            <p:cNvSpPr/>
            <p:nvPr/>
          </p:nvSpPr>
          <p:spPr>
            <a:xfrm>
              <a:off x="9795189" y="2048492"/>
              <a:ext cx="84368" cy="95690"/>
            </a:xfrm>
            <a:custGeom>
              <a:avLst/>
              <a:gdLst>
                <a:gd name="connsiteX0" fmla="*/ 59167 w 84368"/>
                <a:gd name="connsiteY0" fmla="*/ 0 h 95690"/>
                <a:gd name="connsiteX1" fmla="*/ 33601 w 84368"/>
                <a:gd name="connsiteY1" fmla="*/ 13879 h 95690"/>
                <a:gd name="connsiteX2" fmla="*/ 23375 w 84368"/>
                <a:gd name="connsiteY2" fmla="*/ 13879 h 95690"/>
                <a:gd name="connsiteX3" fmla="*/ 0 w 84368"/>
                <a:gd name="connsiteY3" fmla="*/ 37619 h 95690"/>
                <a:gd name="connsiteX4" fmla="*/ 0 w 84368"/>
                <a:gd name="connsiteY4" fmla="*/ 95690 h 95690"/>
                <a:gd name="connsiteX5" fmla="*/ 16435 w 84368"/>
                <a:gd name="connsiteY5" fmla="*/ 95690 h 95690"/>
                <a:gd name="connsiteX6" fmla="*/ 16435 w 84368"/>
                <a:gd name="connsiteY6" fmla="*/ 71950 h 95690"/>
                <a:gd name="connsiteX7" fmla="*/ 32871 w 84368"/>
                <a:gd name="connsiteY7" fmla="*/ 55515 h 95690"/>
                <a:gd name="connsiteX8" fmla="*/ 54054 w 84368"/>
                <a:gd name="connsiteY8" fmla="*/ 55515 h 95690"/>
                <a:gd name="connsiteX9" fmla="*/ 84368 w 84368"/>
                <a:gd name="connsiteY9" fmla="*/ 25201 h 95690"/>
                <a:gd name="connsiteX10" fmla="*/ 84368 w 84368"/>
                <a:gd name="connsiteY10" fmla="*/ 730 h 95690"/>
                <a:gd name="connsiteX11" fmla="*/ 59167 w 84368"/>
                <a:gd name="connsiteY11" fmla="*/ 730 h 95690"/>
                <a:gd name="connsiteX12" fmla="*/ 59167 w 84368"/>
                <a:gd name="connsiteY12" fmla="*/ 0 h 9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368" h="95690">
                  <a:moveTo>
                    <a:pt x="59167" y="0"/>
                  </a:moveTo>
                  <a:cubicBezTo>
                    <a:pt x="48576" y="0"/>
                    <a:pt x="39080" y="5478"/>
                    <a:pt x="33601" y="13879"/>
                  </a:cubicBezTo>
                  <a:lnTo>
                    <a:pt x="23375" y="13879"/>
                  </a:lnTo>
                  <a:cubicBezTo>
                    <a:pt x="10226" y="13879"/>
                    <a:pt x="0" y="24105"/>
                    <a:pt x="0" y="37619"/>
                  </a:cubicBezTo>
                  <a:lnTo>
                    <a:pt x="0" y="95690"/>
                  </a:lnTo>
                  <a:lnTo>
                    <a:pt x="16435" y="95690"/>
                  </a:lnTo>
                  <a:lnTo>
                    <a:pt x="16435" y="71950"/>
                  </a:lnTo>
                  <a:cubicBezTo>
                    <a:pt x="16435" y="62820"/>
                    <a:pt x="24105" y="55515"/>
                    <a:pt x="32871" y="55515"/>
                  </a:cubicBezTo>
                  <a:lnTo>
                    <a:pt x="54054" y="55515"/>
                  </a:lnTo>
                  <a:cubicBezTo>
                    <a:pt x="70489" y="55515"/>
                    <a:pt x="84368" y="42001"/>
                    <a:pt x="84368" y="25201"/>
                  </a:cubicBezTo>
                  <a:lnTo>
                    <a:pt x="84368" y="730"/>
                  </a:lnTo>
                  <a:lnTo>
                    <a:pt x="59167" y="730"/>
                  </a:lnTo>
                  <a:lnTo>
                    <a:pt x="59167" y="0"/>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1" name="Freeform: Shape 2307">
              <a:extLst>
                <a:ext uri="{FF2B5EF4-FFF2-40B4-BE49-F238E27FC236}">
                  <a16:creationId xmlns:a16="http://schemas.microsoft.com/office/drawing/2014/main" id="{58518E4B-E4FB-DF16-8D08-25421D34F68A}"/>
                </a:ext>
              </a:extLst>
            </p:cNvPr>
            <p:cNvSpPr/>
            <p:nvPr/>
          </p:nvSpPr>
          <p:spPr>
            <a:xfrm>
              <a:off x="9794824" y="2133591"/>
              <a:ext cx="29948" cy="46018"/>
            </a:xfrm>
            <a:custGeom>
              <a:avLst/>
              <a:gdLst>
                <a:gd name="connsiteX0" fmla="*/ 29949 w 29948"/>
                <a:gd name="connsiteY0" fmla="*/ 14244 h 46018"/>
                <a:gd name="connsiteX1" fmla="*/ 15705 w 29948"/>
                <a:gd name="connsiteY1" fmla="*/ 0 h 46018"/>
                <a:gd name="connsiteX2" fmla="*/ 14244 w 29948"/>
                <a:gd name="connsiteY2" fmla="*/ 0 h 46018"/>
                <a:gd name="connsiteX3" fmla="*/ 0 w 29948"/>
                <a:gd name="connsiteY3" fmla="*/ 14244 h 46018"/>
                <a:gd name="connsiteX4" fmla="*/ 0 w 29948"/>
                <a:gd name="connsiteY4" fmla="*/ 31775 h 46018"/>
                <a:gd name="connsiteX5" fmla="*/ 14244 w 29948"/>
                <a:gd name="connsiteY5" fmla="*/ 46019 h 46018"/>
                <a:gd name="connsiteX6" fmla="*/ 15705 w 29948"/>
                <a:gd name="connsiteY6" fmla="*/ 46019 h 46018"/>
                <a:gd name="connsiteX7" fmla="*/ 28853 w 29948"/>
                <a:gd name="connsiteY7" fmla="*/ 37619 h 46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948" h="46018">
                  <a:moveTo>
                    <a:pt x="29949" y="14244"/>
                  </a:moveTo>
                  <a:cubicBezTo>
                    <a:pt x="29949" y="6209"/>
                    <a:pt x="23740" y="0"/>
                    <a:pt x="15705" y="0"/>
                  </a:cubicBezTo>
                  <a:lnTo>
                    <a:pt x="14244" y="0"/>
                  </a:lnTo>
                  <a:cubicBezTo>
                    <a:pt x="6209" y="0"/>
                    <a:pt x="0" y="6209"/>
                    <a:pt x="0" y="14244"/>
                  </a:cubicBezTo>
                  <a:lnTo>
                    <a:pt x="0" y="31775"/>
                  </a:lnTo>
                  <a:cubicBezTo>
                    <a:pt x="0" y="39810"/>
                    <a:pt x="6209" y="46019"/>
                    <a:pt x="14244" y="46019"/>
                  </a:cubicBezTo>
                  <a:lnTo>
                    <a:pt x="15705" y="46019"/>
                  </a:lnTo>
                  <a:cubicBezTo>
                    <a:pt x="21549" y="46019"/>
                    <a:pt x="26297" y="42367"/>
                    <a:pt x="28853" y="37619"/>
                  </a:cubicBezTo>
                </a:path>
              </a:pathLst>
            </a:custGeom>
            <a:solidFill>
              <a:srgbClr val="B37C5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2" name="Freeform: Shape 2308">
              <a:extLst>
                <a:ext uri="{FF2B5EF4-FFF2-40B4-BE49-F238E27FC236}">
                  <a16:creationId xmlns:a16="http://schemas.microsoft.com/office/drawing/2014/main" id="{816C36A9-2114-D43B-9681-3B612ECDE683}"/>
                </a:ext>
              </a:extLst>
            </p:cNvPr>
            <p:cNvSpPr/>
            <p:nvPr/>
          </p:nvSpPr>
          <p:spPr>
            <a:xfrm>
              <a:off x="9879192" y="2047762"/>
              <a:ext cx="51862" cy="53323"/>
            </a:xfrm>
            <a:custGeom>
              <a:avLst/>
              <a:gdLst>
                <a:gd name="connsiteX0" fmla="*/ 365 w 51862"/>
                <a:gd name="connsiteY0" fmla="*/ 29218 h 53323"/>
                <a:gd name="connsiteX1" fmla="*/ 0 w 51862"/>
                <a:gd name="connsiteY1" fmla="*/ 23375 h 53323"/>
                <a:gd name="connsiteX2" fmla="*/ 0 w 51862"/>
                <a:gd name="connsiteY2" fmla="*/ 0 h 53323"/>
                <a:gd name="connsiteX3" fmla="*/ 21549 w 51862"/>
                <a:gd name="connsiteY3" fmla="*/ 0 h 53323"/>
                <a:gd name="connsiteX4" fmla="*/ 51863 w 51862"/>
                <a:gd name="connsiteY4" fmla="*/ 30314 h 53323"/>
                <a:gd name="connsiteX5" fmla="*/ 51863 w 51862"/>
                <a:gd name="connsiteY5" fmla="*/ 53324 h 53323"/>
                <a:gd name="connsiteX6" fmla="*/ 30314 w 51862"/>
                <a:gd name="connsiteY6" fmla="*/ 53324 h 53323"/>
                <a:gd name="connsiteX7" fmla="*/ 24105 w 51862"/>
                <a:gd name="connsiteY7" fmla="*/ 52958 h 53323"/>
                <a:gd name="connsiteX8" fmla="*/ 365 w 51862"/>
                <a:gd name="connsiteY8" fmla="*/ 29218 h 53323"/>
                <a:gd name="connsiteX9" fmla="*/ 365 w 51862"/>
                <a:gd name="connsiteY9" fmla="*/ 29218 h 53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862" h="53323">
                  <a:moveTo>
                    <a:pt x="365" y="29218"/>
                  </a:moveTo>
                  <a:cubicBezTo>
                    <a:pt x="365" y="29218"/>
                    <a:pt x="0" y="25201"/>
                    <a:pt x="0" y="23375"/>
                  </a:cubicBezTo>
                  <a:lnTo>
                    <a:pt x="0" y="0"/>
                  </a:lnTo>
                  <a:lnTo>
                    <a:pt x="21549" y="0"/>
                  </a:lnTo>
                  <a:cubicBezTo>
                    <a:pt x="37984" y="0"/>
                    <a:pt x="51863" y="13514"/>
                    <a:pt x="51863" y="30314"/>
                  </a:cubicBezTo>
                  <a:lnTo>
                    <a:pt x="51863" y="53324"/>
                  </a:lnTo>
                  <a:lnTo>
                    <a:pt x="30314" y="53324"/>
                  </a:lnTo>
                  <a:cubicBezTo>
                    <a:pt x="30314" y="53324"/>
                    <a:pt x="26297" y="53324"/>
                    <a:pt x="24105" y="52958"/>
                  </a:cubicBezTo>
                  <a:cubicBezTo>
                    <a:pt x="21914" y="40906"/>
                    <a:pt x="12783" y="32140"/>
                    <a:pt x="365" y="29218"/>
                  </a:cubicBezTo>
                  <a:lnTo>
                    <a:pt x="365" y="29218"/>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3" name="Freeform: Shape 2309">
              <a:extLst>
                <a:ext uri="{FF2B5EF4-FFF2-40B4-BE49-F238E27FC236}">
                  <a16:creationId xmlns:a16="http://schemas.microsoft.com/office/drawing/2014/main" id="{1167A803-13BE-81DD-7A14-549FB610F26A}"/>
                </a:ext>
              </a:extLst>
            </p:cNvPr>
            <p:cNvSpPr/>
            <p:nvPr/>
          </p:nvSpPr>
          <p:spPr>
            <a:xfrm>
              <a:off x="10033788" y="2989240"/>
              <a:ext cx="113334" cy="66661"/>
            </a:xfrm>
            <a:custGeom>
              <a:avLst/>
              <a:gdLst>
                <a:gd name="connsiteX0" fmla="*/ 111657 w 113334"/>
                <a:gd name="connsiteY0" fmla="*/ 49391 h 66661"/>
                <a:gd name="connsiteX1" fmla="*/ 112387 w 113334"/>
                <a:gd name="connsiteY1" fmla="*/ 63270 h 66661"/>
                <a:gd name="connsiteX2" fmla="*/ 39706 w 113334"/>
                <a:gd name="connsiteY2" fmla="*/ 65096 h 66661"/>
                <a:gd name="connsiteX3" fmla="*/ 19984 w 113334"/>
                <a:gd name="connsiteY3" fmla="*/ 55600 h 66661"/>
                <a:gd name="connsiteX4" fmla="*/ 15601 w 113334"/>
                <a:gd name="connsiteY4" fmla="*/ 49756 h 66661"/>
                <a:gd name="connsiteX5" fmla="*/ 10123 w 113334"/>
                <a:gd name="connsiteY5" fmla="*/ 49756 h 66661"/>
                <a:gd name="connsiteX6" fmla="*/ 1722 w 113334"/>
                <a:gd name="connsiteY6" fmla="*/ 43912 h 66661"/>
                <a:gd name="connsiteX7" fmla="*/ 3549 w 113334"/>
                <a:gd name="connsiteY7" fmla="*/ 8485 h 66661"/>
                <a:gd name="connsiteX8" fmla="*/ 59064 w 113334"/>
                <a:gd name="connsiteY8" fmla="*/ 4102 h 66661"/>
                <a:gd name="connsiteX9" fmla="*/ 111657 w 113334"/>
                <a:gd name="connsiteY9" fmla="*/ 49391 h 6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334" h="66661">
                  <a:moveTo>
                    <a:pt x="111657" y="49391"/>
                  </a:moveTo>
                  <a:cubicBezTo>
                    <a:pt x="114944" y="53043"/>
                    <a:pt x="112387" y="63270"/>
                    <a:pt x="112387" y="63270"/>
                  </a:cubicBezTo>
                  <a:cubicBezTo>
                    <a:pt x="112387" y="63270"/>
                    <a:pt x="57603" y="69479"/>
                    <a:pt x="39706" y="65096"/>
                  </a:cubicBezTo>
                  <a:cubicBezTo>
                    <a:pt x="35324" y="64365"/>
                    <a:pt x="27654" y="60348"/>
                    <a:pt x="19984" y="55600"/>
                  </a:cubicBezTo>
                  <a:cubicBezTo>
                    <a:pt x="18523" y="54869"/>
                    <a:pt x="16332" y="50852"/>
                    <a:pt x="15601" y="49756"/>
                  </a:cubicBezTo>
                  <a:cubicBezTo>
                    <a:pt x="13410" y="48295"/>
                    <a:pt x="11949" y="50487"/>
                    <a:pt x="10123" y="49756"/>
                  </a:cubicBezTo>
                  <a:cubicBezTo>
                    <a:pt x="5375" y="46469"/>
                    <a:pt x="1722" y="44278"/>
                    <a:pt x="1722" y="43912"/>
                  </a:cubicBezTo>
                  <a:cubicBezTo>
                    <a:pt x="-3026" y="18712"/>
                    <a:pt x="3549" y="8485"/>
                    <a:pt x="3549" y="8485"/>
                  </a:cubicBezTo>
                  <a:cubicBezTo>
                    <a:pt x="3549" y="8485"/>
                    <a:pt x="49933" y="-7220"/>
                    <a:pt x="59064" y="4102"/>
                  </a:cubicBezTo>
                  <a:cubicBezTo>
                    <a:pt x="79882" y="29669"/>
                    <a:pt x="105083" y="40991"/>
                    <a:pt x="111657" y="49391"/>
                  </a:cubicBezTo>
                  <a:close/>
                </a:path>
              </a:pathLst>
            </a:custGeom>
            <a:solidFill>
              <a:srgbClr val="75757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4" name="Freeform: Shape 2310">
              <a:extLst>
                <a:ext uri="{FF2B5EF4-FFF2-40B4-BE49-F238E27FC236}">
                  <a16:creationId xmlns:a16="http://schemas.microsoft.com/office/drawing/2014/main" id="{D4BA5F24-6B04-643E-ED1A-67C5AE21A9D4}"/>
                </a:ext>
              </a:extLst>
            </p:cNvPr>
            <p:cNvSpPr/>
            <p:nvPr/>
          </p:nvSpPr>
          <p:spPr>
            <a:xfrm>
              <a:off x="9465459" y="2986976"/>
              <a:ext cx="168663" cy="80873"/>
            </a:xfrm>
            <a:custGeom>
              <a:avLst/>
              <a:gdLst>
                <a:gd name="connsiteX0" fmla="*/ 168664 w 168663"/>
                <a:gd name="connsiteY0" fmla="*/ 24263 h 80873"/>
                <a:gd name="connsiteX1" fmla="*/ 165011 w 168663"/>
                <a:gd name="connsiteY1" fmla="*/ 65534 h 80873"/>
                <a:gd name="connsiteX2" fmla="*/ 123375 w 168663"/>
                <a:gd name="connsiteY2" fmla="*/ 69551 h 80873"/>
                <a:gd name="connsiteX3" fmla="*/ 117166 w 168663"/>
                <a:gd name="connsiteY3" fmla="*/ 64073 h 80873"/>
                <a:gd name="connsiteX4" fmla="*/ 106940 w 168663"/>
                <a:gd name="connsiteY4" fmla="*/ 70647 h 80873"/>
                <a:gd name="connsiteX5" fmla="*/ 84661 w 168663"/>
                <a:gd name="connsiteY5" fmla="*/ 72838 h 80873"/>
                <a:gd name="connsiteX6" fmla="*/ 1388 w 168663"/>
                <a:gd name="connsiteY6" fmla="*/ 80873 h 80873"/>
                <a:gd name="connsiteX7" fmla="*/ 658 w 168663"/>
                <a:gd name="connsiteY7" fmla="*/ 69186 h 80873"/>
                <a:gd name="connsiteX8" fmla="*/ 12710 w 168663"/>
                <a:gd name="connsiteY8" fmla="*/ 62612 h 80873"/>
                <a:gd name="connsiteX9" fmla="*/ 101461 w 168663"/>
                <a:gd name="connsiteY9" fmla="*/ 8558 h 80873"/>
                <a:gd name="connsiteX10" fmla="*/ 168298 w 168663"/>
                <a:gd name="connsiteY10" fmla="*/ 23897 h 80873"/>
                <a:gd name="connsiteX11" fmla="*/ 168664 w 168663"/>
                <a:gd name="connsiteY11" fmla="*/ 24263 h 80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8663" h="80873">
                  <a:moveTo>
                    <a:pt x="168664" y="24263"/>
                  </a:moveTo>
                  <a:lnTo>
                    <a:pt x="165011" y="65534"/>
                  </a:lnTo>
                  <a:lnTo>
                    <a:pt x="123375" y="69551"/>
                  </a:lnTo>
                  <a:cubicBezTo>
                    <a:pt x="123375" y="69551"/>
                    <a:pt x="120818" y="64073"/>
                    <a:pt x="117166" y="64073"/>
                  </a:cubicBezTo>
                  <a:cubicBezTo>
                    <a:pt x="113879" y="64073"/>
                    <a:pt x="110957" y="70282"/>
                    <a:pt x="106940" y="70647"/>
                  </a:cubicBezTo>
                  <a:cubicBezTo>
                    <a:pt x="98539" y="71377"/>
                    <a:pt x="88678" y="72473"/>
                    <a:pt x="84661" y="72838"/>
                  </a:cubicBezTo>
                  <a:cubicBezTo>
                    <a:pt x="76991" y="73569"/>
                    <a:pt x="1388" y="80873"/>
                    <a:pt x="1388" y="80873"/>
                  </a:cubicBezTo>
                  <a:cubicBezTo>
                    <a:pt x="1388" y="80873"/>
                    <a:pt x="-1169" y="72473"/>
                    <a:pt x="658" y="69186"/>
                  </a:cubicBezTo>
                  <a:cubicBezTo>
                    <a:pt x="1388" y="67360"/>
                    <a:pt x="8327" y="64438"/>
                    <a:pt x="12710" y="62612"/>
                  </a:cubicBezTo>
                  <a:cubicBezTo>
                    <a:pt x="33163" y="54577"/>
                    <a:pt x="92696" y="30106"/>
                    <a:pt x="101461" y="8558"/>
                  </a:cubicBezTo>
                  <a:cubicBezTo>
                    <a:pt x="111688" y="-17374"/>
                    <a:pt x="168298" y="23897"/>
                    <a:pt x="168298" y="23897"/>
                  </a:cubicBezTo>
                  <a:lnTo>
                    <a:pt x="168664" y="24263"/>
                  </a:lnTo>
                  <a:close/>
                </a:path>
              </a:pathLst>
            </a:custGeom>
            <a:solidFill>
              <a:srgbClr val="75757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5" name="Freeform: Shape 2311">
              <a:extLst>
                <a:ext uri="{FF2B5EF4-FFF2-40B4-BE49-F238E27FC236}">
                  <a16:creationId xmlns:a16="http://schemas.microsoft.com/office/drawing/2014/main" id="{D1CA5245-9FCA-451C-7E73-747F1383117F}"/>
                </a:ext>
              </a:extLst>
            </p:cNvPr>
            <p:cNvSpPr/>
            <p:nvPr/>
          </p:nvSpPr>
          <p:spPr>
            <a:xfrm>
              <a:off x="9660569" y="2487452"/>
              <a:ext cx="176255" cy="64174"/>
            </a:xfrm>
            <a:custGeom>
              <a:avLst/>
              <a:gdLst>
                <a:gd name="connsiteX0" fmla="*/ 36008 w 176255"/>
                <a:gd name="connsiteY0" fmla="*/ 47 h 64174"/>
                <a:gd name="connsiteX1" fmla="*/ 176256 w 176255"/>
                <a:gd name="connsiteY1" fmla="*/ 57388 h 64174"/>
                <a:gd name="connsiteX2" fmla="*/ 14824 w 176255"/>
                <a:gd name="connsiteY2" fmla="*/ 58849 h 64174"/>
                <a:gd name="connsiteX3" fmla="*/ 36008 w 176255"/>
                <a:gd name="connsiteY3" fmla="*/ 47 h 64174"/>
                <a:gd name="connsiteX4" fmla="*/ 36008 w 176255"/>
                <a:gd name="connsiteY4" fmla="*/ 47 h 64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255" h="64174">
                  <a:moveTo>
                    <a:pt x="36008" y="47"/>
                  </a:moveTo>
                  <a:lnTo>
                    <a:pt x="176256" y="57388"/>
                  </a:lnTo>
                  <a:cubicBezTo>
                    <a:pt x="176256" y="57388"/>
                    <a:pt x="76913" y="71632"/>
                    <a:pt x="14824" y="58849"/>
                  </a:cubicBezTo>
                  <a:cubicBezTo>
                    <a:pt x="-27542" y="50449"/>
                    <a:pt x="34181" y="-1779"/>
                    <a:pt x="36008" y="47"/>
                  </a:cubicBezTo>
                  <a:lnTo>
                    <a:pt x="36008" y="47"/>
                  </a:lnTo>
                  <a:close/>
                </a:path>
              </a:pathLst>
            </a:custGeom>
            <a:solidFill>
              <a:srgbClr val="B37C5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6" name="Freeform: Shape 2312">
              <a:extLst>
                <a:ext uri="{FF2B5EF4-FFF2-40B4-BE49-F238E27FC236}">
                  <a16:creationId xmlns:a16="http://schemas.microsoft.com/office/drawing/2014/main" id="{6D9D1272-F048-BF5A-B422-887BC4AD83EE}"/>
                </a:ext>
              </a:extLst>
            </p:cNvPr>
            <p:cNvSpPr/>
            <p:nvPr/>
          </p:nvSpPr>
          <p:spPr>
            <a:xfrm>
              <a:off x="9834268" y="2508328"/>
              <a:ext cx="283073" cy="118688"/>
            </a:xfrm>
            <a:custGeom>
              <a:avLst/>
              <a:gdLst>
                <a:gd name="connsiteX0" fmla="*/ 96786 w 283073"/>
                <a:gd name="connsiteY0" fmla="*/ 12406 h 118688"/>
                <a:gd name="connsiteX1" fmla="*/ 283053 w 283073"/>
                <a:gd name="connsiteY1" fmla="*/ 66095 h 118688"/>
                <a:gd name="connsiteX2" fmla="*/ 243974 w 283073"/>
                <a:gd name="connsiteY2" fmla="*/ 84722 h 118688"/>
                <a:gd name="connsiteX3" fmla="*/ 234478 w 283073"/>
                <a:gd name="connsiteY3" fmla="*/ 118688 h 118688"/>
                <a:gd name="connsiteX4" fmla="*/ 0 w 283073"/>
                <a:gd name="connsiteY4" fmla="*/ 2180 h 118688"/>
                <a:gd name="connsiteX5" fmla="*/ 96056 w 283073"/>
                <a:gd name="connsiteY5" fmla="*/ 11676 h 118688"/>
                <a:gd name="connsiteX6" fmla="*/ 96786 w 283073"/>
                <a:gd name="connsiteY6" fmla="*/ 12406 h 118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3073" h="118688">
                  <a:moveTo>
                    <a:pt x="96786" y="12406"/>
                  </a:moveTo>
                  <a:cubicBezTo>
                    <a:pt x="183711" y="32859"/>
                    <a:pt x="266983" y="48929"/>
                    <a:pt x="283053" y="66095"/>
                  </a:cubicBezTo>
                  <a:cubicBezTo>
                    <a:pt x="283784" y="66826"/>
                    <a:pt x="264427" y="64269"/>
                    <a:pt x="243974" y="84722"/>
                  </a:cubicBezTo>
                  <a:cubicBezTo>
                    <a:pt x="243243" y="85452"/>
                    <a:pt x="238130" y="110288"/>
                    <a:pt x="234478" y="118688"/>
                  </a:cubicBezTo>
                  <a:cubicBezTo>
                    <a:pt x="248722" y="93122"/>
                    <a:pt x="44193" y="21172"/>
                    <a:pt x="0" y="2180"/>
                  </a:cubicBezTo>
                  <a:cubicBezTo>
                    <a:pt x="8035" y="-377"/>
                    <a:pt x="32140" y="-3664"/>
                    <a:pt x="96056" y="11676"/>
                  </a:cubicBezTo>
                  <a:lnTo>
                    <a:pt x="96786" y="12406"/>
                  </a:lnTo>
                  <a:close/>
                </a:path>
              </a:pathLst>
            </a:custGeom>
            <a:solidFill>
              <a:srgbClr val="5C6B7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7" name="Freeform: Shape 2313">
              <a:extLst>
                <a:ext uri="{FF2B5EF4-FFF2-40B4-BE49-F238E27FC236}">
                  <a16:creationId xmlns:a16="http://schemas.microsoft.com/office/drawing/2014/main" id="{8E2A2D05-FDF2-3F74-A4F9-D62E03194532}"/>
                </a:ext>
              </a:extLst>
            </p:cNvPr>
            <p:cNvSpPr/>
            <p:nvPr/>
          </p:nvSpPr>
          <p:spPr>
            <a:xfrm>
              <a:off x="9566189" y="2509336"/>
              <a:ext cx="569231" cy="508112"/>
            </a:xfrm>
            <a:custGeom>
              <a:avLst/>
              <a:gdLst>
                <a:gd name="connsiteX0" fmla="*/ 550767 w 569231"/>
                <a:gd name="connsiteY0" fmla="*/ 65453 h 508112"/>
                <a:gd name="connsiteX1" fmla="*/ 551498 w 569231"/>
                <a:gd name="connsiteY1" fmla="*/ 65453 h 508112"/>
                <a:gd name="connsiteX2" fmla="*/ 365230 w 569231"/>
                <a:gd name="connsiteY2" fmla="*/ 11764 h 508112"/>
                <a:gd name="connsiteX3" fmla="*/ 266618 w 569231"/>
                <a:gd name="connsiteY3" fmla="*/ 3364 h 508112"/>
                <a:gd name="connsiteX4" fmla="*/ 26297 w 569231"/>
                <a:gd name="connsiteY4" fmla="*/ 53766 h 508112"/>
                <a:gd name="connsiteX5" fmla="*/ 15705 w 569231"/>
                <a:gd name="connsiteY5" fmla="*/ 73854 h 508112"/>
                <a:gd name="connsiteX6" fmla="*/ 15705 w 569231"/>
                <a:gd name="connsiteY6" fmla="*/ 73854 h 508112"/>
                <a:gd name="connsiteX7" fmla="*/ 15705 w 569231"/>
                <a:gd name="connsiteY7" fmla="*/ 79697 h 508112"/>
                <a:gd name="connsiteX8" fmla="*/ 15705 w 569231"/>
                <a:gd name="connsiteY8" fmla="*/ 87732 h 508112"/>
                <a:gd name="connsiteX9" fmla="*/ 0 w 569231"/>
                <a:gd name="connsiteY9" fmla="*/ 480720 h 508112"/>
                <a:gd name="connsiteX10" fmla="*/ 85099 w 569231"/>
                <a:gd name="connsiteY10" fmla="*/ 508112 h 508112"/>
                <a:gd name="connsiteX11" fmla="*/ 121256 w 569231"/>
                <a:gd name="connsiteY11" fmla="*/ 141421 h 508112"/>
                <a:gd name="connsiteX12" fmla="*/ 297663 w 569231"/>
                <a:gd name="connsiteY12" fmla="*/ 140691 h 508112"/>
                <a:gd name="connsiteX13" fmla="*/ 457634 w 569231"/>
                <a:gd name="connsiteY13" fmla="*/ 160778 h 508112"/>
                <a:gd name="connsiteX14" fmla="*/ 461286 w 569231"/>
                <a:gd name="connsiteY14" fmla="*/ 261217 h 508112"/>
                <a:gd name="connsiteX15" fmla="*/ 471878 w 569231"/>
                <a:gd name="connsiteY15" fmla="*/ 493138 h 508112"/>
                <a:gd name="connsiteX16" fmla="*/ 537619 w 569231"/>
                <a:gd name="connsiteY16" fmla="*/ 494599 h 508112"/>
                <a:gd name="connsiteX17" fmla="*/ 567933 w 569231"/>
                <a:gd name="connsiteY17" fmla="*/ 125716 h 508112"/>
                <a:gd name="connsiteX18" fmla="*/ 551863 w 569231"/>
                <a:gd name="connsiteY18" fmla="*/ 66184 h 508112"/>
                <a:gd name="connsiteX19" fmla="*/ 550767 w 569231"/>
                <a:gd name="connsiteY19" fmla="*/ 65453 h 50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69231" h="508112">
                  <a:moveTo>
                    <a:pt x="550767" y="65453"/>
                  </a:moveTo>
                  <a:lnTo>
                    <a:pt x="551498" y="65453"/>
                  </a:lnTo>
                  <a:cubicBezTo>
                    <a:pt x="535428" y="47922"/>
                    <a:pt x="452155" y="31852"/>
                    <a:pt x="365230" y="11764"/>
                  </a:cubicBezTo>
                  <a:cubicBezTo>
                    <a:pt x="293280" y="-5401"/>
                    <a:pt x="272097" y="442"/>
                    <a:pt x="266618" y="3364"/>
                  </a:cubicBezTo>
                  <a:cubicBezTo>
                    <a:pt x="208912" y="9573"/>
                    <a:pt x="76333" y="26739"/>
                    <a:pt x="26297" y="53766"/>
                  </a:cubicBezTo>
                  <a:cubicBezTo>
                    <a:pt x="20453" y="57053"/>
                    <a:pt x="16801" y="64358"/>
                    <a:pt x="15705" y="73854"/>
                  </a:cubicBezTo>
                  <a:lnTo>
                    <a:pt x="15705" y="73854"/>
                  </a:lnTo>
                  <a:lnTo>
                    <a:pt x="15705" y="79697"/>
                  </a:lnTo>
                  <a:cubicBezTo>
                    <a:pt x="15705" y="82254"/>
                    <a:pt x="15340" y="85176"/>
                    <a:pt x="15705" y="87732"/>
                  </a:cubicBezTo>
                  <a:lnTo>
                    <a:pt x="0" y="480720"/>
                  </a:lnTo>
                  <a:lnTo>
                    <a:pt x="85099" y="508112"/>
                  </a:lnTo>
                  <a:cubicBezTo>
                    <a:pt x="85099" y="508112"/>
                    <a:pt x="133309" y="180501"/>
                    <a:pt x="121256" y="141421"/>
                  </a:cubicBezTo>
                  <a:cubicBezTo>
                    <a:pt x="178232" y="141056"/>
                    <a:pt x="250548" y="140691"/>
                    <a:pt x="297663" y="140691"/>
                  </a:cubicBezTo>
                  <a:cubicBezTo>
                    <a:pt x="333455" y="145439"/>
                    <a:pt x="404310" y="154935"/>
                    <a:pt x="457634" y="160778"/>
                  </a:cubicBezTo>
                  <a:cubicBezTo>
                    <a:pt x="459825" y="195840"/>
                    <a:pt x="461651" y="233459"/>
                    <a:pt x="461286" y="261217"/>
                  </a:cubicBezTo>
                  <a:cubicBezTo>
                    <a:pt x="459825" y="312349"/>
                    <a:pt x="459460" y="409865"/>
                    <a:pt x="471878" y="493138"/>
                  </a:cubicBezTo>
                  <a:cubicBezTo>
                    <a:pt x="472608" y="497886"/>
                    <a:pt x="537619" y="494599"/>
                    <a:pt x="537619" y="494599"/>
                  </a:cubicBezTo>
                  <a:cubicBezTo>
                    <a:pt x="537619" y="494599"/>
                    <a:pt x="560994" y="177579"/>
                    <a:pt x="567933" y="125716"/>
                  </a:cubicBezTo>
                  <a:cubicBezTo>
                    <a:pt x="571585" y="100150"/>
                    <a:pt x="567933" y="78602"/>
                    <a:pt x="551863" y="66184"/>
                  </a:cubicBezTo>
                  <a:lnTo>
                    <a:pt x="550767" y="65453"/>
                  </a:lnTo>
                  <a:close/>
                </a:path>
              </a:pathLst>
            </a:custGeom>
            <a:solidFill>
              <a:schemeClr val="accent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8" name="Freeform: Shape 2314">
              <a:extLst>
                <a:ext uri="{FF2B5EF4-FFF2-40B4-BE49-F238E27FC236}">
                  <a16:creationId xmlns:a16="http://schemas.microsoft.com/office/drawing/2014/main" id="{2F8AF82F-DD8D-4DBF-692E-0B70EA6F6B30}"/>
                </a:ext>
              </a:extLst>
            </p:cNvPr>
            <p:cNvSpPr/>
            <p:nvPr/>
          </p:nvSpPr>
          <p:spPr>
            <a:xfrm>
              <a:off x="9963560" y="2215822"/>
              <a:ext cx="194106" cy="380790"/>
            </a:xfrm>
            <a:custGeom>
              <a:avLst/>
              <a:gdLst>
                <a:gd name="connsiteX0" fmla="*/ 730 w 194106"/>
                <a:gd name="connsiteY0" fmla="*/ 9441 h 380790"/>
                <a:gd name="connsiteX1" fmla="*/ 88751 w 194106"/>
                <a:gd name="connsiteY1" fmla="*/ 39390 h 380790"/>
                <a:gd name="connsiteX2" fmla="*/ 190650 w 194106"/>
                <a:gd name="connsiteY2" fmla="*/ 265102 h 380790"/>
                <a:gd name="connsiteX3" fmla="*/ 167641 w 194106"/>
                <a:gd name="connsiteY3" fmla="*/ 377593 h 380790"/>
                <a:gd name="connsiteX4" fmla="*/ 123448 w 194106"/>
                <a:gd name="connsiteY4" fmla="*/ 379054 h 380790"/>
                <a:gd name="connsiteX5" fmla="*/ 98977 w 194106"/>
                <a:gd name="connsiteY5" fmla="*/ 361888 h 380790"/>
                <a:gd name="connsiteX6" fmla="*/ 109204 w 194106"/>
                <a:gd name="connsiteY6" fmla="*/ 341801 h 380790"/>
                <a:gd name="connsiteX7" fmla="*/ 109204 w 194106"/>
                <a:gd name="connsiteY7" fmla="*/ 326096 h 380790"/>
                <a:gd name="connsiteX8" fmla="*/ 39080 w 194106"/>
                <a:gd name="connsiteY8" fmla="*/ 177082 h 380790"/>
                <a:gd name="connsiteX9" fmla="*/ 0 w 194106"/>
                <a:gd name="connsiteY9" fmla="*/ 9807 h 380790"/>
                <a:gd name="connsiteX10" fmla="*/ 730 w 194106"/>
                <a:gd name="connsiteY10" fmla="*/ 9441 h 380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4106" h="380790">
                  <a:moveTo>
                    <a:pt x="730" y="9441"/>
                  </a:moveTo>
                  <a:cubicBezTo>
                    <a:pt x="730" y="9441"/>
                    <a:pt x="45654" y="-25621"/>
                    <a:pt x="88751" y="39390"/>
                  </a:cubicBezTo>
                  <a:cubicBezTo>
                    <a:pt x="152666" y="134715"/>
                    <a:pt x="180424" y="235884"/>
                    <a:pt x="190650" y="265102"/>
                  </a:cubicBezTo>
                  <a:cubicBezTo>
                    <a:pt x="198320" y="287382"/>
                    <a:pt x="194302" y="350932"/>
                    <a:pt x="167641" y="377593"/>
                  </a:cubicBezTo>
                  <a:cubicBezTo>
                    <a:pt x="161432" y="383802"/>
                    <a:pt x="123448" y="379054"/>
                    <a:pt x="123448" y="379054"/>
                  </a:cubicBezTo>
                  <a:lnTo>
                    <a:pt x="98977" y="361888"/>
                  </a:lnTo>
                  <a:lnTo>
                    <a:pt x="109204" y="341801"/>
                  </a:lnTo>
                  <a:lnTo>
                    <a:pt x="109204" y="326096"/>
                  </a:lnTo>
                  <a:cubicBezTo>
                    <a:pt x="109204" y="326096"/>
                    <a:pt x="77794" y="249398"/>
                    <a:pt x="39080" y="177082"/>
                  </a:cubicBezTo>
                  <a:cubicBezTo>
                    <a:pt x="0" y="104401"/>
                    <a:pt x="0" y="9807"/>
                    <a:pt x="0" y="9807"/>
                  </a:cubicBezTo>
                  <a:lnTo>
                    <a:pt x="730" y="9441"/>
                  </a:lnTo>
                  <a:close/>
                </a:path>
              </a:pathLst>
            </a:custGeom>
            <a:solidFill>
              <a:schemeClr val="accent6">
                <a:lumMod val="40000"/>
                <a:lumOff val="60000"/>
              </a:schemeClr>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9" name="Freeform: Shape 2315">
              <a:extLst>
                <a:ext uri="{FF2B5EF4-FFF2-40B4-BE49-F238E27FC236}">
                  <a16:creationId xmlns:a16="http://schemas.microsoft.com/office/drawing/2014/main" id="{B2F225CC-9144-338C-99ED-14DF0DE01C51}"/>
                </a:ext>
              </a:extLst>
            </p:cNvPr>
            <p:cNvSpPr/>
            <p:nvPr/>
          </p:nvSpPr>
          <p:spPr>
            <a:xfrm>
              <a:off x="9928498" y="2516352"/>
              <a:ext cx="156145" cy="62178"/>
            </a:xfrm>
            <a:custGeom>
              <a:avLst/>
              <a:gdLst>
                <a:gd name="connsiteX0" fmla="*/ 144996 w 156145"/>
                <a:gd name="connsiteY0" fmla="*/ 0 h 62178"/>
                <a:gd name="connsiteX1" fmla="*/ 0 w 156145"/>
                <a:gd name="connsiteY1" fmla="*/ 7670 h 62178"/>
                <a:gd name="connsiteX2" fmla="*/ 144266 w 156145"/>
                <a:gd name="connsiteY2" fmla="*/ 60993 h 62178"/>
                <a:gd name="connsiteX3" fmla="*/ 144996 w 156145"/>
                <a:gd name="connsiteY3" fmla="*/ 730 h 62178"/>
                <a:gd name="connsiteX4" fmla="*/ 144996 w 156145"/>
                <a:gd name="connsiteY4" fmla="*/ 0 h 62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145" h="62178">
                  <a:moveTo>
                    <a:pt x="144996" y="0"/>
                  </a:moveTo>
                  <a:lnTo>
                    <a:pt x="0" y="7670"/>
                  </a:lnTo>
                  <a:cubicBezTo>
                    <a:pt x="0" y="7670"/>
                    <a:pt x="139518" y="71585"/>
                    <a:pt x="144266" y="60993"/>
                  </a:cubicBezTo>
                  <a:cubicBezTo>
                    <a:pt x="170563" y="-1826"/>
                    <a:pt x="144996" y="730"/>
                    <a:pt x="144996" y="730"/>
                  </a:cubicBezTo>
                  <a:lnTo>
                    <a:pt x="144996" y="0"/>
                  </a:lnTo>
                  <a:close/>
                </a:path>
              </a:pathLst>
            </a:custGeom>
            <a:solidFill>
              <a:srgbClr val="B37C5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0" name="Freeform: Shape 2316">
              <a:extLst>
                <a:ext uri="{FF2B5EF4-FFF2-40B4-BE49-F238E27FC236}">
                  <a16:creationId xmlns:a16="http://schemas.microsoft.com/office/drawing/2014/main" id="{832F6CE3-3CE3-994E-9714-C268E1F496A3}"/>
                </a:ext>
              </a:extLst>
            </p:cNvPr>
            <p:cNvSpPr/>
            <p:nvPr/>
          </p:nvSpPr>
          <p:spPr>
            <a:xfrm>
              <a:off x="9890149" y="2507586"/>
              <a:ext cx="104948" cy="57341"/>
            </a:xfrm>
            <a:custGeom>
              <a:avLst/>
              <a:gdLst>
                <a:gd name="connsiteX0" fmla="*/ 103725 w 104948"/>
                <a:gd name="connsiteY0" fmla="*/ 4018 h 57341"/>
                <a:gd name="connsiteX1" fmla="*/ 96056 w 104948"/>
                <a:gd name="connsiteY1" fmla="*/ 0 h 57341"/>
                <a:gd name="connsiteX2" fmla="*/ 77429 w 104948"/>
                <a:gd name="connsiteY2" fmla="*/ 10592 h 57341"/>
                <a:gd name="connsiteX3" fmla="*/ 53689 w 104948"/>
                <a:gd name="connsiteY3" fmla="*/ 11322 h 57341"/>
                <a:gd name="connsiteX4" fmla="*/ 26662 w 104948"/>
                <a:gd name="connsiteY4" fmla="*/ 11322 h 57341"/>
                <a:gd name="connsiteX5" fmla="*/ 14244 w 104948"/>
                <a:gd name="connsiteY5" fmla="*/ 11322 h 57341"/>
                <a:gd name="connsiteX6" fmla="*/ 5113 w 104948"/>
                <a:gd name="connsiteY6" fmla="*/ 11322 h 57341"/>
                <a:gd name="connsiteX7" fmla="*/ 4383 w 104948"/>
                <a:gd name="connsiteY7" fmla="*/ 17531 h 57341"/>
                <a:gd name="connsiteX8" fmla="*/ 52228 w 104948"/>
                <a:gd name="connsiteY8" fmla="*/ 24105 h 57341"/>
                <a:gd name="connsiteX9" fmla="*/ 6209 w 104948"/>
                <a:gd name="connsiteY9" fmla="*/ 29949 h 57341"/>
                <a:gd name="connsiteX10" fmla="*/ 0 w 104948"/>
                <a:gd name="connsiteY10" fmla="*/ 34697 h 57341"/>
                <a:gd name="connsiteX11" fmla="*/ 1826 w 104948"/>
                <a:gd name="connsiteY11" fmla="*/ 37253 h 57341"/>
                <a:gd name="connsiteX12" fmla="*/ 55150 w 104948"/>
                <a:gd name="connsiteY12" fmla="*/ 43097 h 57341"/>
                <a:gd name="connsiteX13" fmla="*/ 31775 w 104948"/>
                <a:gd name="connsiteY13" fmla="*/ 48576 h 57341"/>
                <a:gd name="connsiteX14" fmla="*/ 25931 w 104948"/>
                <a:gd name="connsiteY14" fmla="*/ 53324 h 57341"/>
                <a:gd name="connsiteX15" fmla="*/ 25201 w 104948"/>
                <a:gd name="connsiteY15" fmla="*/ 57341 h 57341"/>
                <a:gd name="connsiteX16" fmla="*/ 74507 w 104948"/>
                <a:gd name="connsiteY16" fmla="*/ 52593 h 57341"/>
                <a:gd name="connsiteX17" fmla="*/ 103725 w 104948"/>
                <a:gd name="connsiteY17" fmla="*/ 2557 h 57341"/>
                <a:gd name="connsiteX18" fmla="*/ 103725 w 104948"/>
                <a:gd name="connsiteY18" fmla="*/ 4018 h 57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4948" h="57341">
                  <a:moveTo>
                    <a:pt x="103725" y="4018"/>
                  </a:moveTo>
                  <a:cubicBezTo>
                    <a:pt x="95325" y="0"/>
                    <a:pt x="96056" y="0"/>
                    <a:pt x="96056" y="0"/>
                  </a:cubicBezTo>
                  <a:cubicBezTo>
                    <a:pt x="96056" y="0"/>
                    <a:pt x="88386" y="9496"/>
                    <a:pt x="77429" y="10592"/>
                  </a:cubicBezTo>
                  <a:cubicBezTo>
                    <a:pt x="71950" y="11322"/>
                    <a:pt x="53689" y="11322"/>
                    <a:pt x="53689" y="11322"/>
                  </a:cubicBezTo>
                  <a:lnTo>
                    <a:pt x="26662" y="11322"/>
                  </a:lnTo>
                  <a:lnTo>
                    <a:pt x="14244" y="11322"/>
                  </a:lnTo>
                  <a:cubicBezTo>
                    <a:pt x="14244" y="11322"/>
                    <a:pt x="6939" y="10592"/>
                    <a:pt x="5113" y="11322"/>
                  </a:cubicBezTo>
                  <a:cubicBezTo>
                    <a:pt x="-365" y="14974"/>
                    <a:pt x="4383" y="17531"/>
                    <a:pt x="4383" y="17531"/>
                  </a:cubicBezTo>
                  <a:lnTo>
                    <a:pt x="52228" y="24105"/>
                  </a:lnTo>
                  <a:lnTo>
                    <a:pt x="6209" y="29949"/>
                  </a:lnTo>
                  <a:cubicBezTo>
                    <a:pt x="6209" y="29949"/>
                    <a:pt x="365" y="31775"/>
                    <a:pt x="0" y="34697"/>
                  </a:cubicBezTo>
                  <a:cubicBezTo>
                    <a:pt x="0" y="37984"/>
                    <a:pt x="1826" y="37253"/>
                    <a:pt x="1826" y="37253"/>
                  </a:cubicBezTo>
                  <a:lnTo>
                    <a:pt x="55150" y="43097"/>
                  </a:lnTo>
                  <a:lnTo>
                    <a:pt x="31775" y="48576"/>
                  </a:lnTo>
                  <a:cubicBezTo>
                    <a:pt x="31775" y="48576"/>
                    <a:pt x="25931" y="50402"/>
                    <a:pt x="25931" y="53324"/>
                  </a:cubicBezTo>
                  <a:cubicBezTo>
                    <a:pt x="25566" y="56611"/>
                    <a:pt x="25201" y="57341"/>
                    <a:pt x="25201" y="57341"/>
                  </a:cubicBezTo>
                  <a:lnTo>
                    <a:pt x="74507" y="52593"/>
                  </a:lnTo>
                  <a:cubicBezTo>
                    <a:pt x="74507" y="52593"/>
                    <a:pt x="112126" y="6574"/>
                    <a:pt x="103725" y="2557"/>
                  </a:cubicBezTo>
                  <a:lnTo>
                    <a:pt x="103725" y="4018"/>
                  </a:lnTo>
                  <a:close/>
                </a:path>
              </a:pathLst>
            </a:custGeom>
            <a:solidFill>
              <a:srgbClr val="96969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1" name="Freeform: Shape 2317">
              <a:extLst>
                <a:ext uri="{FF2B5EF4-FFF2-40B4-BE49-F238E27FC236}">
                  <a16:creationId xmlns:a16="http://schemas.microsoft.com/office/drawing/2014/main" id="{C38AFE60-D7B5-2AEA-7D00-4978A5D924F0}"/>
                </a:ext>
              </a:extLst>
            </p:cNvPr>
            <p:cNvSpPr/>
            <p:nvPr/>
          </p:nvSpPr>
          <p:spPr>
            <a:xfrm>
              <a:off x="9895706" y="2541553"/>
              <a:ext cx="49958" cy="14609"/>
            </a:xfrm>
            <a:custGeom>
              <a:avLst/>
              <a:gdLst>
                <a:gd name="connsiteX0" fmla="*/ 44845 w 49958"/>
                <a:gd name="connsiteY0" fmla="*/ 365 h 14609"/>
                <a:gd name="connsiteX1" fmla="*/ 12705 w 49958"/>
                <a:gd name="connsiteY1" fmla="*/ 6209 h 14609"/>
                <a:gd name="connsiteX2" fmla="*/ 2113 w 49958"/>
                <a:gd name="connsiteY2" fmla="*/ 8766 h 14609"/>
                <a:gd name="connsiteX3" fmla="*/ 652 w 49958"/>
                <a:gd name="connsiteY3" fmla="*/ 14609 h 14609"/>
                <a:gd name="connsiteX4" fmla="*/ 49958 w 49958"/>
                <a:gd name="connsiteY4" fmla="*/ 10592 h 14609"/>
                <a:gd name="connsiteX5" fmla="*/ 45210 w 49958"/>
                <a:gd name="connsiteY5" fmla="*/ 0 h 14609"/>
                <a:gd name="connsiteX6" fmla="*/ 44845 w 49958"/>
                <a:gd name="connsiteY6" fmla="*/ 365 h 14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958" h="14609">
                  <a:moveTo>
                    <a:pt x="44845" y="365"/>
                  </a:moveTo>
                  <a:lnTo>
                    <a:pt x="12705" y="6209"/>
                  </a:lnTo>
                  <a:cubicBezTo>
                    <a:pt x="12705" y="6209"/>
                    <a:pt x="5400" y="6574"/>
                    <a:pt x="2113" y="8766"/>
                  </a:cubicBezTo>
                  <a:cubicBezTo>
                    <a:pt x="-1539" y="11322"/>
                    <a:pt x="652" y="14609"/>
                    <a:pt x="652" y="14609"/>
                  </a:cubicBezTo>
                  <a:lnTo>
                    <a:pt x="49958" y="10592"/>
                  </a:lnTo>
                  <a:lnTo>
                    <a:pt x="45210" y="0"/>
                  </a:lnTo>
                  <a:lnTo>
                    <a:pt x="44845" y="365"/>
                  </a:lnTo>
                  <a:close/>
                </a:path>
              </a:pathLst>
            </a:custGeom>
            <a:solidFill>
              <a:srgbClr val="96969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2" name="Freeform: Shape 2318">
              <a:extLst>
                <a:ext uri="{FF2B5EF4-FFF2-40B4-BE49-F238E27FC236}">
                  <a16:creationId xmlns:a16="http://schemas.microsoft.com/office/drawing/2014/main" id="{0A8624A7-A42B-FDD8-70BD-ADDEB595DE69}"/>
                </a:ext>
              </a:extLst>
            </p:cNvPr>
            <p:cNvSpPr/>
            <p:nvPr/>
          </p:nvSpPr>
          <p:spPr>
            <a:xfrm>
              <a:off x="9739309" y="2557988"/>
              <a:ext cx="285975" cy="20452"/>
            </a:xfrm>
            <a:custGeom>
              <a:avLst/>
              <a:gdLst>
                <a:gd name="connsiteX0" fmla="*/ 0 w 285975"/>
                <a:gd name="connsiteY0" fmla="*/ 8766 h 20452"/>
                <a:gd name="connsiteX1" fmla="*/ 0 w 285975"/>
                <a:gd name="connsiteY1" fmla="*/ 8766 h 20452"/>
                <a:gd name="connsiteX2" fmla="*/ 0 w 285975"/>
                <a:gd name="connsiteY2" fmla="*/ 0 h 20452"/>
                <a:gd name="connsiteX3" fmla="*/ 285975 w 285975"/>
                <a:gd name="connsiteY3" fmla="*/ 0 h 20452"/>
                <a:gd name="connsiteX4" fmla="*/ 285975 w 285975"/>
                <a:gd name="connsiteY4" fmla="*/ 9131 h 20452"/>
                <a:gd name="connsiteX5" fmla="*/ 285975 w 285975"/>
                <a:gd name="connsiteY5" fmla="*/ 9131 h 20452"/>
                <a:gd name="connsiteX6" fmla="*/ 285245 w 285975"/>
                <a:gd name="connsiteY6" fmla="*/ 10957 h 20452"/>
                <a:gd name="connsiteX7" fmla="*/ 261505 w 285975"/>
                <a:gd name="connsiteY7" fmla="*/ 20453 h 20452"/>
                <a:gd name="connsiteX8" fmla="*/ 24836 w 285975"/>
                <a:gd name="connsiteY8" fmla="*/ 20453 h 20452"/>
                <a:gd name="connsiteX9" fmla="*/ 1096 w 285975"/>
                <a:gd name="connsiteY9" fmla="*/ 10957 h 20452"/>
                <a:gd name="connsiteX10" fmla="*/ 0 w 285975"/>
                <a:gd name="connsiteY10" fmla="*/ 8766 h 20452"/>
                <a:gd name="connsiteX11" fmla="*/ 0 w 285975"/>
                <a:gd name="connsiteY11" fmla="*/ 8766 h 20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975" h="20452">
                  <a:moveTo>
                    <a:pt x="0" y="8766"/>
                  </a:moveTo>
                  <a:lnTo>
                    <a:pt x="0" y="8766"/>
                  </a:lnTo>
                  <a:lnTo>
                    <a:pt x="0" y="0"/>
                  </a:lnTo>
                  <a:lnTo>
                    <a:pt x="285975" y="0"/>
                  </a:lnTo>
                  <a:lnTo>
                    <a:pt x="285975" y="9131"/>
                  </a:lnTo>
                  <a:lnTo>
                    <a:pt x="285975" y="9131"/>
                  </a:lnTo>
                  <a:lnTo>
                    <a:pt x="285245" y="10957"/>
                  </a:lnTo>
                  <a:cubicBezTo>
                    <a:pt x="280497" y="18992"/>
                    <a:pt x="271731" y="20453"/>
                    <a:pt x="261505" y="20453"/>
                  </a:cubicBezTo>
                  <a:lnTo>
                    <a:pt x="24836" y="20453"/>
                  </a:lnTo>
                  <a:cubicBezTo>
                    <a:pt x="14974" y="20453"/>
                    <a:pt x="6209" y="18992"/>
                    <a:pt x="1096" y="10957"/>
                  </a:cubicBezTo>
                  <a:lnTo>
                    <a:pt x="0" y="8766"/>
                  </a:lnTo>
                  <a:lnTo>
                    <a:pt x="0" y="8766"/>
                  </a:lnTo>
                  <a:close/>
                </a:path>
              </a:pathLst>
            </a:custGeom>
            <a:solidFill>
              <a:srgbClr val="76767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3" name="Freeform: Shape 2319">
              <a:extLst>
                <a:ext uri="{FF2B5EF4-FFF2-40B4-BE49-F238E27FC236}">
                  <a16:creationId xmlns:a16="http://schemas.microsoft.com/office/drawing/2014/main" id="{4ADB7012-B2B7-7DC1-7625-C596F848C5AA}"/>
                </a:ext>
              </a:extLst>
            </p:cNvPr>
            <p:cNvSpPr/>
            <p:nvPr/>
          </p:nvSpPr>
          <p:spPr>
            <a:xfrm>
              <a:off x="9787154" y="2559814"/>
              <a:ext cx="189189" cy="6208"/>
            </a:xfrm>
            <a:custGeom>
              <a:avLst/>
              <a:gdLst>
                <a:gd name="connsiteX0" fmla="*/ 0 w 189189"/>
                <a:gd name="connsiteY0" fmla="*/ 0 h 6208"/>
                <a:gd name="connsiteX1" fmla="*/ 189189 w 189189"/>
                <a:gd name="connsiteY1" fmla="*/ 0 h 6208"/>
                <a:gd name="connsiteX2" fmla="*/ 189189 w 189189"/>
                <a:gd name="connsiteY2" fmla="*/ 6209 h 6208"/>
                <a:gd name="connsiteX3" fmla="*/ 0 w 189189"/>
                <a:gd name="connsiteY3" fmla="*/ 6209 h 6208"/>
              </a:gdLst>
              <a:ahLst/>
              <a:cxnLst>
                <a:cxn ang="0">
                  <a:pos x="connsiteX0" y="connsiteY0"/>
                </a:cxn>
                <a:cxn ang="0">
                  <a:pos x="connsiteX1" y="connsiteY1"/>
                </a:cxn>
                <a:cxn ang="0">
                  <a:pos x="connsiteX2" y="connsiteY2"/>
                </a:cxn>
                <a:cxn ang="0">
                  <a:pos x="connsiteX3" y="connsiteY3"/>
                </a:cxn>
              </a:cxnLst>
              <a:rect l="l" t="t" r="r" b="b"/>
              <a:pathLst>
                <a:path w="189189" h="6208">
                  <a:moveTo>
                    <a:pt x="0" y="0"/>
                  </a:moveTo>
                  <a:lnTo>
                    <a:pt x="189189" y="0"/>
                  </a:lnTo>
                  <a:lnTo>
                    <a:pt x="189189" y="6209"/>
                  </a:lnTo>
                  <a:lnTo>
                    <a:pt x="0" y="6209"/>
                  </a:ln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4" name="Freeform: Shape 2320">
              <a:extLst>
                <a:ext uri="{FF2B5EF4-FFF2-40B4-BE49-F238E27FC236}">
                  <a16:creationId xmlns:a16="http://schemas.microsoft.com/office/drawing/2014/main" id="{D677242D-2E20-F40A-6985-FC3894371959}"/>
                </a:ext>
              </a:extLst>
            </p:cNvPr>
            <p:cNvSpPr/>
            <p:nvPr/>
          </p:nvSpPr>
          <p:spPr>
            <a:xfrm>
              <a:off x="9738578" y="2361494"/>
              <a:ext cx="286705" cy="196859"/>
            </a:xfrm>
            <a:custGeom>
              <a:avLst/>
              <a:gdLst>
                <a:gd name="connsiteX0" fmla="*/ 731 w 286705"/>
                <a:gd name="connsiteY0" fmla="*/ 196859 h 196859"/>
                <a:gd name="connsiteX1" fmla="*/ 0 w 286705"/>
                <a:gd name="connsiteY1" fmla="*/ 9131 h 196859"/>
                <a:gd name="connsiteX2" fmla="*/ 9131 w 286705"/>
                <a:gd name="connsiteY2" fmla="*/ 0 h 196859"/>
                <a:gd name="connsiteX3" fmla="*/ 276845 w 286705"/>
                <a:gd name="connsiteY3" fmla="*/ 0 h 196859"/>
                <a:gd name="connsiteX4" fmla="*/ 285975 w 286705"/>
                <a:gd name="connsiteY4" fmla="*/ 9131 h 196859"/>
                <a:gd name="connsiteX5" fmla="*/ 286706 w 286705"/>
                <a:gd name="connsiteY5" fmla="*/ 196859 h 196859"/>
                <a:gd name="connsiteX6" fmla="*/ 731 w 286705"/>
                <a:gd name="connsiteY6" fmla="*/ 196859 h 196859"/>
                <a:gd name="connsiteX7" fmla="*/ 731 w 286705"/>
                <a:gd name="connsiteY7" fmla="*/ 196859 h 196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705" h="196859">
                  <a:moveTo>
                    <a:pt x="731" y="196859"/>
                  </a:moveTo>
                  <a:lnTo>
                    <a:pt x="0" y="9131"/>
                  </a:lnTo>
                  <a:cubicBezTo>
                    <a:pt x="0" y="4383"/>
                    <a:pt x="4018" y="0"/>
                    <a:pt x="9131" y="0"/>
                  </a:cubicBezTo>
                  <a:lnTo>
                    <a:pt x="276845" y="0"/>
                  </a:lnTo>
                  <a:cubicBezTo>
                    <a:pt x="281593" y="0"/>
                    <a:pt x="285975" y="4018"/>
                    <a:pt x="285975" y="9131"/>
                  </a:cubicBezTo>
                  <a:lnTo>
                    <a:pt x="286706" y="196859"/>
                  </a:lnTo>
                  <a:lnTo>
                    <a:pt x="731" y="196859"/>
                  </a:lnTo>
                  <a:lnTo>
                    <a:pt x="731" y="196859"/>
                  </a:lnTo>
                  <a:close/>
                </a:path>
              </a:pathLst>
            </a:custGeom>
            <a:solidFill>
              <a:srgbClr val="99999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5" name="Freeform: Shape 2321">
              <a:extLst>
                <a:ext uri="{FF2B5EF4-FFF2-40B4-BE49-F238E27FC236}">
                  <a16:creationId xmlns:a16="http://schemas.microsoft.com/office/drawing/2014/main" id="{82259836-55D3-67C7-5B0C-EBBBCD62C664}"/>
                </a:ext>
              </a:extLst>
            </p:cNvPr>
            <p:cNvSpPr/>
            <p:nvPr/>
          </p:nvSpPr>
          <p:spPr>
            <a:xfrm>
              <a:off x="9864217" y="2442941"/>
              <a:ext cx="35062" cy="35062"/>
            </a:xfrm>
            <a:custGeom>
              <a:avLst/>
              <a:gdLst>
                <a:gd name="connsiteX0" fmla="*/ 0 w 35062"/>
                <a:gd name="connsiteY0" fmla="*/ 17531 h 35062"/>
                <a:gd name="connsiteX1" fmla="*/ 17531 w 35062"/>
                <a:gd name="connsiteY1" fmla="*/ 35062 h 35062"/>
                <a:gd name="connsiteX2" fmla="*/ 35062 w 35062"/>
                <a:gd name="connsiteY2" fmla="*/ 17531 h 35062"/>
                <a:gd name="connsiteX3" fmla="*/ 17531 w 35062"/>
                <a:gd name="connsiteY3" fmla="*/ 0 h 35062"/>
                <a:gd name="connsiteX4" fmla="*/ 0 w 35062"/>
                <a:gd name="connsiteY4" fmla="*/ 17531 h 35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62" h="35062">
                  <a:moveTo>
                    <a:pt x="0" y="17531"/>
                  </a:moveTo>
                  <a:cubicBezTo>
                    <a:pt x="0" y="27027"/>
                    <a:pt x="7670" y="35062"/>
                    <a:pt x="17531" y="35062"/>
                  </a:cubicBezTo>
                  <a:cubicBezTo>
                    <a:pt x="27392" y="35062"/>
                    <a:pt x="35062" y="27392"/>
                    <a:pt x="35062" y="17531"/>
                  </a:cubicBezTo>
                  <a:cubicBezTo>
                    <a:pt x="35062" y="8035"/>
                    <a:pt x="27392" y="0"/>
                    <a:pt x="17531" y="0"/>
                  </a:cubicBezTo>
                  <a:cubicBezTo>
                    <a:pt x="7305" y="0"/>
                    <a:pt x="0" y="7670"/>
                    <a:pt x="0" y="17531"/>
                  </a:cubicBezTo>
                  <a:close/>
                </a:path>
              </a:pathLst>
            </a:custGeom>
            <a:solidFill>
              <a:srgbClr val="F2F2F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6" name="Freeform: Shape 2322">
              <a:extLst>
                <a:ext uri="{FF2B5EF4-FFF2-40B4-BE49-F238E27FC236}">
                  <a16:creationId xmlns:a16="http://schemas.microsoft.com/office/drawing/2014/main" id="{15F4FA93-B601-3FE2-6C39-94EEB2719BD6}"/>
                </a:ext>
              </a:extLst>
            </p:cNvPr>
            <p:cNvSpPr/>
            <p:nvPr/>
          </p:nvSpPr>
          <p:spPr>
            <a:xfrm>
              <a:off x="10049389" y="2508317"/>
              <a:ext cx="52958" cy="80350"/>
            </a:xfrm>
            <a:custGeom>
              <a:avLst/>
              <a:gdLst>
                <a:gd name="connsiteX0" fmla="*/ 43097 w 52958"/>
                <a:gd name="connsiteY0" fmla="*/ 80351 h 80350"/>
                <a:gd name="connsiteX1" fmla="*/ 52958 w 52958"/>
                <a:gd name="connsiteY1" fmla="*/ 16801 h 80350"/>
                <a:gd name="connsiteX2" fmla="*/ 36523 w 52958"/>
                <a:gd name="connsiteY2" fmla="*/ 0 h 80350"/>
                <a:gd name="connsiteX3" fmla="*/ 0 w 52958"/>
                <a:gd name="connsiteY3" fmla="*/ 5844 h 80350"/>
                <a:gd name="connsiteX4" fmla="*/ 7305 w 52958"/>
                <a:gd name="connsiteY4" fmla="*/ 76333 h 80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58" h="80350">
                  <a:moveTo>
                    <a:pt x="43097" y="80351"/>
                  </a:moveTo>
                  <a:lnTo>
                    <a:pt x="52958" y="16801"/>
                  </a:lnTo>
                  <a:lnTo>
                    <a:pt x="36523" y="0"/>
                  </a:lnTo>
                  <a:lnTo>
                    <a:pt x="0" y="5844"/>
                  </a:lnTo>
                  <a:lnTo>
                    <a:pt x="7305" y="76333"/>
                  </a:lnTo>
                  <a:close/>
                </a:path>
              </a:pathLst>
            </a:custGeom>
            <a:solidFill>
              <a:srgbClr val="5E9D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7" name="Freeform: Shape 2323">
              <a:extLst>
                <a:ext uri="{FF2B5EF4-FFF2-40B4-BE49-F238E27FC236}">
                  <a16:creationId xmlns:a16="http://schemas.microsoft.com/office/drawing/2014/main" id="{2E9C046E-8017-60EE-084C-7779379B523E}"/>
                </a:ext>
              </a:extLst>
            </p:cNvPr>
            <p:cNvSpPr/>
            <p:nvPr/>
          </p:nvSpPr>
          <p:spPr>
            <a:xfrm>
              <a:off x="9643983" y="2478368"/>
              <a:ext cx="71585" cy="74141"/>
            </a:xfrm>
            <a:custGeom>
              <a:avLst/>
              <a:gdLst>
                <a:gd name="connsiteX0" fmla="*/ 4018 w 71585"/>
                <a:gd name="connsiteY0" fmla="*/ 64646 h 74141"/>
                <a:gd name="connsiteX1" fmla="*/ 0 w 71585"/>
                <a:gd name="connsiteY1" fmla="*/ 41636 h 74141"/>
                <a:gd name="connsiteX2" fmla="*/ 46384 w 71585"/>
                <a:gd name="connsiteY2" fmla="*/ 0 h 74141"/>
                <a:gd name="connsiteX3" fmla="*/ 71585 w 71585"/>
                <a:gd name="connsiteY3" fmla="*/ 10957 h 74141"/>
                <a:gd name="connsiteX4" fmla="*/ 38349 w 71585"/>
                <a:gd name="connsiteY4" fmla="*/ 74142 h 74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85" h="74141">
                  <a:moveTo>
                    <a:pt x="4018" y="64646"/>
                  </a:moveTo>
                  <a:lnTo>
                    <a:pt x="0" y="41636"/>
                  </a:lnTo>
                  <a:lnTo>
                    <a:pt x="46384" y="0"/>
                  </a:lnTo>
                  <a:lnTo>
                    <a:pt x="71585" y="10957"/>
                  </a:lnTo>
                  <a:lnTo>
                    <a:pt x="38349" y="74142"/>
                  </a:lnTo>
                  <a:close/>
                </a:path>
              </a:pathLst>
            </a:custGeom>
            <a:solidFill>
              <a:srgbClr val="5E9D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8" name="Freeform: Shape 2324">
              <a:extLst>
                <a:ext uri="{FF2B5EF4-FFF2-40B4-BE49-F238E27FC236}">
                  <a16:creationId xmlns:a16="http://schemas.microsoft.com/office/drawing/2014/main" id="{5F0CD81F-8D8D-D688-F281-24579F04D9AD}"/>
                </a:ext>
              </a:extLst>
            </p:cNvPr>
            <p:cNvSpPr/>
            <p:nvPr/>
          </p:nvSpPr>
          <p:spPr>
            <a:xfrm>
              <a:off x="8723362" y="2542649"/>
              <a:ext cx="73612" cy="342220"/>
            </a:xfrm>
            <a:custGeom>
              <a:avLst/>
              <a:gdLst>
                <a:gd name="connsiteX0" fmla="*/ 57217 w 73612"/>
                <a:gd name="connsiteY0" fmla="*/ 341490 h 342220"/>
                <a:gd name="connsiteX1" fmla="*/ 22886 w 73612"/>
                <a:gd name="connsiteY1" fmla="*/ 329072 h 342220"/>
                <a:gd name="connsiteX2" fmla="*/ 606 w 73612"/>
                <a:gd name="connsiteY2" fmla="*/ 249452 h 342220"/>
                <a:gd name="connsiteX3" fmla="*/ 22886 w 73612"/>
                <a:gd name="connsiteY3" fmla="*/ 170562 h 342220"/>
                <a:gd name="connsiteX4" fmla="*/ 50643 w 73612"/>
                <a:gd name="connsiteY4" fmla="*/ 3287 h 342220"/>
                <a:gd name="connsiteX5" fmla="*/ 70365 w 73612"/>
                <a:gd name="connsiteY5" fmla="*/ 0 h 342220"/>
                <a:gd name="connsiteX6" fmla="*/ 41877 w 73612"/>
                <a:gd name="connsiteY6" fmla="*/ 177867 h 342220"/>
                <a:gd name="connsiteX7" fmla="*/ 20694 w 73612"/>
                <a:gd name="connsiteY7" fmla="*/ 250913 h 342220"/>
                <a:gd name="connsiteX8" fmla="*/ 36034 w 73612"/>
                <a:gd name="connsiteY8" fmla="*/ 314098 h 342220"/>
                <a:gd name="connsiteX9" fmla="*/ 62330 w 73612"/>
                <a:gd name="connsiteY9" fmla="*/ 321768 h 342220"/>
                <a:gd name="connsiteX10" fmla="*/ 66348 w 73612"/>
                <a:gd name="connsiteY10" fmla="*/ 341490 h 342220"/>
                <a:gd name="connsiteX11" fmla="*/ 57217 w 73612"/>
                <a:gd name="connsiteY11" fmla="*/ 342221 h 342220"/>
                <a:gd name="connsiteX12" fmla="*/ 57217 w 73612"/>
                <a:gd name="connsiteY12" fmla="*/ 341490 h 34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612" h="342220">
                  <a:moveTo>
                    <a:pt x="57217" y="341490"/>
                  </a:moveTo>
                  <a:cubicBezTo>
                    <a:pt x="48817" y="341490"/>
                    <a:pt x="34938" y="339664"/>
                    <a:pt x="22886" y="329072"/>
                  </a:cubicBezTo>
                  <a:cubicBezTo>
                    <a:pt x="5354" y="313733"/>
                    <a:pt x="-2315" y="287071"/>
                    <a:pt x="606" y="249452"/>
                  </a:cubicBezTo>
                  <a:cubicBezTo>
                    <a:pt x="2433" y="223886"/>
                    <a:pt x="12294" y="197955"/>
                    <a:pt x="22886" y="170562"/>
                  </a:cubicBezTo>
                  <a:cubicBezTo>
                    <a:pt x="40782" y="124543"/>
                    <a:pt x="60869" y="71950"/>
                    <a:pt x="50643" y="3287"/>
                  </a:cubicBezTo>
                  <a:lnTo>
                    <a:pt x="70365" y="0"/>
                  </a:lnTo>
                  <a:cubicBezTo>
                    <a:pt x="82053" y="74142"/>
                    <a:pt x="59774" y="131483"/>
                    <a:pt x="41877" y="177867"/>
                  </a:cubicBezTo>
                  <a:cubicBezTo>
                    <a:pt x="31286" y="204894"/>
                    <a:pt x="22155" y="228269"/>
                    <a:pt x="20694" y="250913"/>
                  </a:cubicBezTo>
                  <a:cubicBezTo>
                    <a:pt x="18503" y="281958"/>
                    <a:pt x="23981" y="303141"/>
                    <a:pt x="36034" y="314098"/>
                  </a:cubicBezTo>
                  <a:cubicBezTo>
                    <a:pt x="47721" y="324324"/>
                    <a:pt x="61965" y="321768"/>
                    <a:pt x="62330" y="321768"/>
                  </a:cubicBezTo>
                  <a:lnTo>
                    <a:pt x="66348" y="341490"/>
                  </a:lnTo>
                  <a:cubicBezTo>
                    <a:pt x="66348" y="341490"/>
                    <a:pt x="62696" y="342221"/>
                    <a:pt x="57217" y="342221"/>
                  </a:cubicBezTo>
                  <a:lnTo>
                    <a:pt x="57217" y="341490"/>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9" name="Freeform: Shape 2325">
              <a:extLst>
                <a:ext uri="{FF2B5EF4-FFF2-40B4-BE49-F238E27FC236}">
                  <a16:creationId xmlns:a16="http://schemas.microsoft.com/office/drawing/2014/main" id="{3BF7A745-D12A-E6E3-F364-B01F8072FFA0}"/>
                </a:ext>
              </a:extLst>
            </p:cNvPr>
            <p:cNvSpPr/>
            <p:nvPr/>
          </p:nvSpPr>
          <p:spPr>
            <a:xfrm>
              <a:off x="8788067" y="3042283"/>
              <a:ext cx="164900" cy="81811"/>
            </a:xfrm>
            <a:custGeom>
              <a:avLst/>
              <a:gdLst>
                <a:gd name="connsiteX0" fmla="*/ 145544 w 164900"/>
                <a:gd name="connsiteY0" fmla="*/ 0 h 81811"/>
                <a:gd name="connsiteX1" fmla="*/ 164901 w 164900"/>
                <a:gd name="connsiteY1" fmla="*/ 29584 h 81811"/>
                <a:gd name="connsiteX2" fmla="*/ 1278 w 164900"/>
                <a:gd name="connsiteY2" fmla="*/ 81812 h 81811"/>
                <a:gd name="connsiteX3" fmla="*/ 30496 w 164900"/>
                <a:gd name="connsiteY3" fmla="*/ 50402 h 81811"/>
                <a:gd name="connsiteX4" fmla="*/ 145178 w 164900"/>
                <a:gd name="connsiteY4" fmla="*/ 0 h 81811"/>
                <a:gd name="connsiteX5" fmla="*/ 145544 w 164900"/>
                <a:gd name="connsiteY5" fmla="*/ 0 h 8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900" h="81811">
                  <a:moveTo>
                    <a:pt x="145544" y="0"/>
                  </a:moveTo>
                  <a:lnTo>
                    <a:pt x="164901" y="29584"/>
                  </a:lnTo>
                  <a:lnTo>
                    <a:pt x="1278" y="81812"/>
                  </a:lnTo>
                  <a:cubicBezTo>
                    <a:pt x="1278" y="81812"/>
                    <a:pt x="-9314" y="71585"/>
                    <a:pt x="30496" y="50402"/>
                  </a:cubicBezTo>
                  <a:cubicBezTo>
                    <a:pt x="76880" y="25931"/>
                    <a:pt x="145178" y="0"/>
                    <a:pt x="145178" y="0"/>
                  </a:cubicBezTo>
                  <a:lnTo>
                    <a:pt x="145544" y="0"/>
                  </a:lnTo>
                  <a:close/>
                </a:path>
              </a:pathLst>
            </a:custGeom>
            <a:solidFill>
              <a:srgbClr val="CECEC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0" name="Freeform: Shape 2326">
              <a:extLst>
                <a:ext uri="{FF2B5EF4-FFF2-40B4-BE49-F238E27FC236}">
                  <a16:creationId xmlns:a16="http://schemas.microsoft.com/office/drawing/2014/main" id="{58206583-A78D-A8D1-4975-02AD79BD6511}"/>
                </a:ext>
              </a:extLst>
            </p:cNvPr>
            <p:cNvSpPr/>
            <p:nvPr/>
          </p:nvSpPr>
          <p:spPr>
            <a:xfrm>
              <a:off x="8943107" y="3042283"/>
              <a:ext cx="164900" cy="81811"/>
            </a:xfrm>
            <a:custGeom>
              <a:avLst/>
              <a:gdLst>
                <a:gd name="connsiteX0" fmla="*/ 19357 w 164900"/>
                <a:gd name="connsiteY0" fmla="*/ 0 h 81811"/>
                <a:gd name="connsiteX1" fmla="*/ 0 w 164900"/>
                <a:gd name="connsiteY1" fmla="*/ 29584 h 81811"/>
                <a:gd name="connsiteX2" fmla="*/ 163623 w 164900"/>
                <a:gd name="connsiteY2" fmla="*/ 81812 h 81811"/>
                <a:gd name="connsiteX3" fmla="*/ 134405 w 164900"/>
                <a:gd name="connsiteY3" fmla="*/ 50402 h 81811"/>
                <a:gd name="connsiteX4" fmla="*/ 19722 w 164900"/>
                <a:gd name="connsiteY4" fmla="*/ 0 h 81811"/>
                <a:gd name="connsiteX5" fmla="*/ 19357 w 164900"/>
                <a:gd name="connsiteY5" fmla="*/ 0 h 8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900" h="81811">
                  <a:moveTo>
                    <a:pt x="19357" y="0"/>
                  </a:moveTo>
                  <a:lnTo>
                    <a:pt x="0" y="29584"/>
                  </a:lnTo>
                  <a:lnTo>
                    <a:pt x="163623" y="81812"/>
                  </a:lnTo>
                  <a:cubicBezTo>
                    <a:pt x="163623" y="81812"/>
                    <a:pt x="174215" y="71585"/>
                    <a:pt x="134405" y="50402"/>
                  </a:cubicBezTo>
                  <a:cubicBezTo>
                    <a:pt x="88021" y="25931"/>
                    <a:pt x="19722" y="0"/>
                    <a:pt x="19722" y="0"/>
                  </a:cubicBezTo>
                  <a:lnTo>
                    <a:pt x="19357" y="0"/>
                  </a:lnTo>
                  <a:close/>
                </a:path>
              </a:pathLst>
            </a:custGeom>
            <a:solidFill>
              <a:srgbClr val="CECEC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1" name="Freeform: Shape 2327">
              <a:extLst>
                <a:ext uri="{FF2B5EF4-FFF2-40B4-BE49-F238E27FC236}">
                  <a16:creationId xmlns:a16="http://schemas.microsoft.com/office/drawing/2014/main" id="{DF9B1A56-81AA-E6D5-EAE1-02F07E143A52}"/>
                </a:ext>
              </a:extLst>
            </p:cNvPr>
            <p:cNvSpPr/>
            <p:nvPr/>
          </p:nvSpPr>
          <p:spPr>
            <a:xfrm>
              <a:off x="8930689" y="2953898"/>
              <a:ext cx="33966" cy="121256"/>
            </a:xfrm>
            <a:custGeom>
              <a:avLst/>
              <a:gdLst>
                <a:gd name="connsiteX0" fmla="*/ 0 w 33966"/>
                <a:gd name="connsiteY0" fmla="*/ 0 h 121256"/>
                <a:gd name="connsiteX1" fmla="*/ 33966 w 33966"/>
                <a:gd name="connsiteY1" fmla="*/ 0 h 121256"/>
                <a:gd name="connsiteX2" fmla="*/ 33966 w 33966"/>
                <a:gd name="connsiteY2" fmla="*/ 121256 h 121256"/>
                <a:gd name="connsiteX3" fmla="*/ 0 w 33966"/>
                <a:gd name="connsiteY3" fmla="*/ 121256 h 121256"/>
              </a:gdLst>
              <a:ahLst/>
              <a:cxnLst>
                <a:cxn ang="0">
                  <a:pos x="connsiteX0" y="connsiteY0"/>
                </a:cxn>
                <a:cxn ang="0">
                  <a:pos x="connsiteX1" y="connsiteY1"/>
                </a:cxn>
                <a:cxn ang="0">
                  <a:pos x="connsiteX2" y="connsiteY2"/>
                </a:cxn>
                <a:cxn ang="0">
                  <a:pos x="connsiteX3" y="connsiteY3"/>
                </a:cxn>
              </a:cxnLst>
              <a:rect l="l" t="t" r="r" b="b"/>
              <a:pathLst>
                <a:path w="33966" h="121256">
                  <a:moveTo>
                    <a:pt x="0" y="0"/>
                  </a:moveTo>
                  <a:lnTo>
                    <a:pt x="33966" y="0"/>
                  </a:lnTo>
                  <a:lnTo>
                    <a:pt x="33966" y="121256"/>
                  </a:lnTo>
                  <a:lnTo>
                    <a:pt x="0" y="121256"/>
                  </a:lnTo>
                  <a:close/>
                </a:path>
              </a:pathLst>
            </a:custGeom>
            <a:solidFill>
              <a:srgbClr val="CCCCC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2" name="Freeform: Shape 2328">
              <a:extLst>
                <a:ext uri="{FF2B5EF4-FFF2-40B4-BE49-F238E27FC236}">
                  <a16:creationId xmlns:a16="http://schemas.microsoft.com/office/drawing/2014/main" id="{34A79F84-EC44-FDAC-E559-3AF0E70C3A74}"/>
                </a:ext>
              </a:extLst>
            </p:cNvPr>
            <p:cNvSpPr/>
            <p:nvPr/>
          </p:nvSpPr>
          <p:spPr>
            <a:xfrm>
              <a:off x="8807148" y="3048492"/>
              <a:ext cx="140706" cy="78159"/>
            </a:xfrm>
            <a:custGeom>
              <a:avLst/>
              <a:gdLst>
                <a:gd name="connsiteX0" fmla="*/ 124271 w 140706"/>
                <a:gd name="connsiteY0" fmla="*/ 0 h 78159"/>
                <a:gd name="connsiteX1" fmla="*/ 140706 w 140706"/>
                <a:gd name="connsiteY1" fmla="*/ 28123 h 78159"/>
                <a:gd name="connsiteX2" fmla="*/ 1188 w 140706"/>
                <a:gd name="connsiteY2" fmla="*/ 78159 h 78159"/>
                <a:gd name="connsiteX3" fmla="*/ 26389 w 140706"/>
                <a:gd name="connsiteY3" fmla="*/ 48210 h 78159"/>
                <a:gd name="connsiteX4" fmla="*/ 124271 w 140706"/>
                <a:gd name="connsiteY4" fmla="*/ 0 h 78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06" h="78159">
                  <a:moveTo>
                    <a:pt x="124271" y="0"/>
                  </a:moveTo>
                  <a:lnTo>
                    <a:pt x="140706" y="28123"/>
                  </a:lnTo>
                  <a:lnTo>
                    <a:pt x="1188" y="78159"/>
                  </a:lnTo>
                  <a:cubicBezTo>
                    <a:pt x="1188" y="78159"/>
                    <a:pt x="-8308" y="68298"/>
                    <a:pt x="26389" y="48210"/>
                  </a:cubicBezTo>
                  <a:cubicBezTo>
                    <a:pt x="65834" y="25201"/>
                    <a:pt x="124271" y="0"/>
                    <a:pt x="124271" y="0"/>
                  </a:cubicBezTo>
                  <a:close/>
                </a:path>
              </a:pathLst>
            </a:custGeom>
            <a:solidFill>
              <a:srgbClr val="B3B3B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3" name="Freeform: Shape 2329">
              <a:extLst>
                <a:ext uri="{FF2B5EF4-FFF2-40B4-BE49-F238E27FC236}">
                  <a16:creationId xmlns:a16="http://schemas.microsoft.com/office/drawing/2014/main" id="{BD6C3ADC-C745-9F96-BD31-4039582C66A8}"/>
                </a:ext>
              </a:extLst>
            </p:cNvPr>
            <p:cNvSpPr/>
            <p:nvPr/>
          </p:nvSpPr>
          <p:spPr>
            <a:xfrm>
              <a:off x="8948220" y="3048492"/>
              <a:ext cx="140706" cy="78159"/>
            </a:xfrm>
            <a:custGeom>
              <a:avLst/>
              <a:gdLst>
                <a:gd name="connsiteX0" fmla="*/ 16435 w 140706"/>
                <a:gd name="connsiteY0" fmla="*/ 0 h 78159"/>
                <a:gd name="connsiteX1" fmla="*/ 0 w 140706"/>
                <a:gd name="connsiteY1" fmla="*/ 28123 h 78159"/>
                <a:gd name="connsiteX2" fmla="*/ 139518 w 140706"/>
                <a:gd name="connsiteY2" fmla="*/ 78159 h 78159"/>
                <a:gd name="connsiteX3" fmla="*/ 114317 w 140706"/>
                <a:gd name="connsiteY3" fmla="*/ 48210 h 78159"/>
                <a:gd name="connsiteX4" fmla="*/ 16435 w 140706"/>
                <a:gd name="connsiteY4" fmla="*/ 0 h 78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06" h="78159">
                  <a:moveTo>
                    <a:pt x="16435" y="0"/>
                  </a:moveTo>
                  <a:lnTo>
                    <a:pt x="0" y="28123"/>
                  </a:lnTo>
                  <a:lnTo>
                    <a:pt x="139518" y="78159"/>
                  </a:lnTo>
                  <a:cubicBezTo>
                    <a:pt x="139518" y="78159"/>
                    <a:pt x="149014" y="68298"/>
                    <a:pt x="114317" y="48210"/>
                  </a:cubicBezTo>
                  <a:cubicBezTo>
                    <a:pt x="74872" y="25201"/>
                    <a:pt x="16435" y="0"/>
                    <a:pt x="16435" y="0"/>
                  </a:cubicBezTo>
                  <a:close/>
                </a:path>
              </a:pathLst>
            </a:custGeom>
            <a:solidFill>
              <a:srgbClr val="B3B3B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4" name="Freeform: Shape 2330">
              <a:extLst>
                <a:ext uri="{FF2B5EF4-FFF2-40B4-BE49-F238E27FC236}">
                  <a16:creationId xmlns:a16="http://schemas.microsoft.com/office/drawing/2014/main" id="{DA5056FC-FC9B-0BFC-C2E8-011CBA967B46}"/>
                </a:ext>
              </a:extLst>
            </p:cNvPr>
            <p:cNvSpPr/>
            <p:nvPr/>
          </p:nvSpPr>
          <p:spPr>
            <a:xfrm>
              <a:off x="8799936" y="3125921"/>
              <a:ext cx="23739" cy="23739"/>
            </a:xfrm>
            <a:custGeom>
              <a:avLst/>
              <a:gdLst>
                <a:gd name="connsiteX0" fmla="*/ 23740 w 23739"/>
                <a:gd name="connsiteY0" fmla="*/ 12053 h 23739"/>
                <a:gd name="connsiteX1" fmla="*/ 12053 w 23739"/>
                <a:gd name="connsiteY1" fmla="*/ 23740 h 23739"/>
                <a:gd name="connsiteX2" fmla="*/ 0 w 23739"/>
                <a:gd name="connsiteY2" fmla="*/ 12053 h 23739"/>
                <a:gd name="connsiteX3" fmla="*/ 12053 w 23739"/>
                <a:gd name="connsiteY3" fmla="*/ 0 h 23739"/>
                <a:gd name="connsiteX4" fmla="*/ 23740 w 23739"/>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39" h="23739">
                  <a:moveTo>
                    <a:pt x="23740" y="12053"/>
                  </a:moveTo>
                  <a:cubicBezTo>
                    <a:pt x="23740" y="18627"/>
                    <a:pt x="18262" y="23740"/>
                    <a:pt x="12053" y="23740"/>
                  </a:cubicBezTo>
                  <a:cubicBezTo>
                    <a:pt x="5844" y="23740"/>
                    <a:pt x="0" y="18262"/>
                    <a:pt x="0" y="12053"/>
                  </a:cubicBezTo>
                  <a:cubicBezTo>
                    <a:pt x="0" y="5844"/>
                    <a:pt x="5478" y="0"/>
                    <a:pt x="12053" y="0"/>
                  </a:cubicBezTo>
                  <a:cubicBezTo>
                    <a:pt x="18992" y="0"/>
                    <a:pt x="23740" y="5478"/>
                    <a:pt x="23740" y="12053"/>
                  </a:cubicBez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5" name="Freeform: Shape 2331">
              <a:extLst>
                <a:ext uri="{FF2B5EF4-FFF2-40B4-BE49-F238E27FC236}">
                  <a16:creationId xmlns:a16="http://schemas.microsoft.com/office/drawing/2014/main" id="{FDD5B844-0D26-8ACA-BA5B-01F66615DAD0}"/>
                </a:ext>
              </a:extLst>
            </p:cNvPr>
            <p:cNvSpPr/>
            <p:nvPr/>
          </p:nvSpPr>
          <p:spPr>
            <a:xfrm>
              <a:off x="9070937" y="3125921"/>
              <a:ext cx="23739" cy="23739"/>
            </a:xfrm>
            <a:custGeom>
              <a:avLst/>
              <a:gdLst>
                <a:gd name="connsiteX0" fmla="*/ 23740 w 23739"/>
                <a:gd name="connsiteY0" fmla="*/ 12053 h 23739"/>
                <a:gd name="connsiteX1" fmla="*/ 11687 w 23739"/>
                <a:gd name="connsiteY1" fmla="*/ 23740 h 23739"/>
                <a:gd name="connsiteX2" fmla="*/ 0 w 23739"/>
                <a:gd name="connsiteY2" fmla="*/ 12053 h 23739"/>
                <a:gd name="connsiteX3" fmla="*/ 11687 w 23739"/>
                <a:gd name="connsiteY3" fmla="*/ 0 h 23739"/>
                <a:gd name="connsiteX4" fmla="*/ 23740 w 23739"/>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39" h="23739">
                  <a:moveTo>
                    <a:pt x="23740" y="12053"/>
                  </a:moveTo>
                  <a:cubicBezTo>
                    <a:pt x="23740" y="18627"/>
                    <a:pt x="18262" y="23740"/>
                    <a:pt x="11687" y="23740"/>
                  </a:cubicBezTo>
                  <a:cubicBezTo>
                    <a:pt x="5113" y="23740"/>
                    <a:pt x="0" y="18262"/>
                    <a:pt x="0" y="12053"/>
                  </a:cubicBezTo>
                  <a:cubicBezTo>
                    <a:pt x="0" y="5844"/>
                    <a:pt x="5478" y="0"/>
                    <a:pt x="11687" y="0"/>
                  </a:cubicBezTo>
                  <a:cubicBezTo>
                    <a:pt x="17896" y="0"/>
                    <a:pt x="23740" y="5478"/>
                    <a:pt x="23740" y="12053"/>
                  </a:cubicBez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6" name="Freeform: Shape 2332">
              <a:extLst>
                <a:ext uri="{FF2B5EF4-FFF2-40B4-BE49-F238E27FC236}">
                  <a16:creationId xmlns:a16="http://schemas.microsoft.com/office/drawing/2014/main" id="{3C2E8B28-AE10-7104-9C9F-CC32D5285490}"/>
                </a:ext>
              </a:extLst>
            </p:cNvPr>
            <p:cNvSpPr/>
            <p:nvPr/>
          </p:nvSpPr>
          <p:spPr>
            <a:xfrm>
              <a:off x="8771448" y="3125921"/>
              <a:ext cx="23739" cy="23739"/>
            </a:xfrm>
            <a:custGeom>
              <a:avLst/>
              <a:gdLst>
                <a:gd name="connsiteX0" fmla="*/ 23740 w 23739"/>
                <a:gd name="connsiteY0" fmla="*/ 12053 h 23739"/>
                <a:gd name="connsiteX1" fmla="*/ 11687 w 23739"/>
                <a:gd name="connsiteY1" fmla="*/ 23740 h 23739"/>
                <a:gd name="connsiteX2" fmla="*/ 0 w 23739"/>
                <a:gd name="connsiteY2" fmla="*/ 12053 h 23739"/>
                <a:gd name="connsiteX3" fmla="*/ 11687 w 23739"/>
                <a:gd name="connsiteY3" fmla="*/ 0 h 23739"/>
                <a:gd name="connsiteX4" fmla="*/ 23740 w 23739"/>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39" h="23739">
                  <a:moveTo>
                    <a:pt x="23740" y="12053"/>
                  </a:moveTo>
                  <a:cubicBezTo>
                    <a:pt x="23740" y="18627"/>
                    <a:pt x="18262" y="23740"/>
                    <a:pt x="11687" y="23740"/>
                  </a:cubicBezTo>
                  <a:cubicBezTo>
                    <a:pt x="5113" y="23740"/>
                    <a:pt x="0" y="18262"/>
                    <a:pt x="0" y="12053"/>
                  </a:cubicBezTo>
                  <a:cubicBezTo>
                    <a:pt x="0" y="5844"/>
                    <a:pt x="5478" y="0"/>
                    <a:pt x="11687" y="0"/>
                  </a:cubicBezTo>
                  <a:cubicBezTo>
                    <a:pt x="17896" y="0"/>
                    <a:pt x="23740" y="5478"/>
                    <a:pt x="23740" y="12053"/>
                  </a:cubicBezTo>
                  <a:close/>
                </a:path>
              </a:pathLst>
            </a:custGeom>
            <a:solidFill>
              <a:srgbClr val="4D5E6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7" name="Freeform: Shape 2333">
              <a:extLst>
                <a:ext uri="{FF2B5EF4-FFF2-40B4-BE49-F238E27FC236}">
                  <a16:creationId xmlns:a16="http://schemas.microsoft.com/office/drawing/2014/main" id="{C6726CB8-06E5-8CA8-1C97-05291410FC40}"/>
                </a:ext>
              </a:extLst>
            </p:cNvPr>
            <p:cNvSpPr/>
            <p:nvPr/>
          </p:nvSpPr>
          <p:spPr>
            <a:xfrm>
              <a:off x="9099790" y="3125921"/>
              <a:ext cx="23739" cy="23739"/>
            </a:xfrm>
            <a:custGeom>
              <a:avLst/>
              <a:gdLst>
                <a:gd name="connsiteX0" fmla="*/ 23740 w 23739"/>
                <a:gd name="connsiteY0" fmla="*/ 12053 h 23739"/>
                <a:gd name="connsiteX1" fmla="*/ 11687 w 23739"/>
                <a:gd name="connsiteY1" fmla="*/ 23740 h 23739"/>
                <a:gd name="connsiteX2" fmla="*/ 0 w 23739"/>
                <a:gd name="connsiteY2" fmla="*/ 12053 h 23739"/>
                <a:gd name="connsiteX3" fmla="*/ 11687 w 23739"/>
                <a:gd name="connsiteY3" fmla="*/ 0 h 23739"/>
                <a:gd name="connsiteX4" fmla="*/ 23740 w 23739"/>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39" h="23739">
                  <a:moveTo>
                    <a:pt x="23740" y="12053"/>
                  </a:moveTo>
                  <a:cubicBezTo>
                    <a:pt x="23740" y="18627"/>
                    <a:pt x="18262" y="23740"/>
                    <a:pt x="11687" y="23740"/>
                  </a:cubicBezTo>
                  <a:cubicBezTo>
                    <a:pt x="5113" y="23740"/>
                    <a:pt x="0" y="18262"/>
                    <a:pt x="0" y="12053"/>
                  </a:cubicBezTo>
                  <a:cubicBezTo>
                    <a:pt x="0" y="5844"/>
                    <a:pt x="5478" y="0"/>
                    <a:pt x="11687" y="0"/>
                  </a:cubicBezTo>
                  <a:cubicBezTo>
                    <a:pt x="17896" y="0"/>
                    <a:pt x="23740" y="5478"/>
                    <a:pt x="23740" y="12053"/>
                  </a:cubicBezTo>
                  <a:close/>
                </a:path>
              </a:pathLst>
            </a:custGeom>
            <a:solidFill>
              <a:srgbClr val="4D5E6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8" name="Freeform: Shape 2334">
              <a:extLst>
                <a:ext uri="{FF2B5EF4-FFF2-40B4-BE49-F238E27FC236}">
                  <a16:creationId xmlns:a16="http://schemas.microsoft.com/office/drawing/2014/main" id="{B6B1FEBE-ACD9-038F-E2EF-2CABD7C701C0}"/>
                </a:ext>
              </a:extLst>
            </p:cNvPr>
            <p:cNvSpPr/>
            <p:nvPr/>
          </p:nvSpPr>
          <p:spPr>
            <a:xfrm>
              <a:off x="8935437" y="2909705"/>
              <a:ext cx="25200" cy="43827"/>
            </a:xfrm>
            <a:custGeom>
              <a:avLst/>
              <a:gdLst>
                <a:gd name="connsiteX0" fmla="*/ 0 w 25200"/>
                <a:gd name="connsiteY0" fmla="*/ 0 h 43827"/>
                <a:gd name="connsiteX1" fmla="*/ 25201 w 25200"/>
                <a:gd name="connsiteY1" fmla="*/ 0 h 43827"/>
                <a:gd name="connsiteX2" fmla="*/ 25201 w 25200"/>
                <a:gd name="connsiteY2" fmla="*/ 43828 h 43827"/>
                <a:gd name="connsiteX3" fmla="*/ 0 w 25200"/>
                <a:gd name="connsiteY3" fmla="*/ 43828 h 43827"/>
              </a:gdLst>
              <a:ahLst/>
              <a:cxnLst>
                <a:cxn ang="0">
                  <a:pos x="connsiteX0" y="connsiteY0"/>
                </a:cxn>
                <a:cxn ang="0">
                  <a:pos x="connsiteX1" y="connsiteY1"/>
                </a:cxn>
                <a:cxn ang="0">
                  <a:pos x="connsiteX2" y="connsiteY2"/>
                </a:cxn>
                <a:cxn ang="0">
                  <a:pos x="connsiteX3" y="connsiteY3"/>
                </a:cxn>
              </a:cxnLst>
              <a:rect l="l" t="t" r="r" b="b"/>
              <a:pathLst>
                <a:path w="25200" h="43827">
                  <a:moveTo>
                    <a:pt x="0" y="0"/>
                  </a:moveTo>
                  <a:lnTo>
                    <a:pt x="25201" y="0"/>
                  </a:lnTo>
                  <a:lnTo>
                    <a:pt x="25201" y="43828"/>
                  </a:lnTo>
                  <a:lnTo>
                    <a:pt x="0" y="43828"/>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9" name="Freeform: Shape 2335">
              <a:extLst>
                <a:ext uri="{FF2B5EF4-FFF2-40B4-BE49-F238E27FC236}">
                  <a16:creationId xmlns:a16="http://schemas.microsoft.com/office/drawing/2014/main" id="{EDE8ED49-D910-52CF-A639-AF020B55428E}"/>
                </a:ext>
              </a:extLst>
            </p:cNvPr>
            <p:cNvSpPr/>
            <p:nvPr/>
          </p:nvSpPr>
          <p:spPr>
            <a:xfrm>
              <a:off x="8916445" y="2862225"/>
              <a:ext cx="62089" cy="48210"/>
            </a:xfrm>
            <a:custGeom>
              <a:avLst/>
              <a:gdLst>
                <a:gd name="connsiteX0" fmla="*/ 62089 w 62089"/>
                <a:gd name="connsiteY0" fmla="*/ 24105 h 48210"/>
                <a:gd name="connsiteX1" fmla="*/ 37984 w 62089"/>
                <a:gd name="connsiteY1" fmla="*/ 48210 h 48210"/>
                <a:gd name="connsiteX2" fmla="*/ 24105 w 62089"/>
                <a:gd name="connsiteY2" fmla="*/ 48210 h 48210"/>
                <a:gd name="connsiteX3" fmla="*/ 0 w 62089"/>
                <a:gd name="connsiteY3" fmla="*/ 24105 h 48210"/>
                <a:gd name="connsiteX4" fmla="*/ 0 w 62089"/>
                <a:gd name="connsiteY4" fmla="*/ 24105 h 48210"/>
                <a:gd name="connsiteX5" fmla="*/ 24105 w 62089"/>
                <a:gd name="connsiteY5" fmla="*/ 0 h 48210"/>
                <a:gd name="connsiteX6" fmla="*/ 37984 w 62089"/>
                <a:gd name="connsiteY6" fmla="*/ 0 h 48210"/>
                <a:gd name="connsiteX7" fmla="*/ 62089 w 62089"/>
                <a:gd name="connsiteY7" fmla="*/ 24105 h 48210"/>
                <a:gd name="connsiteX8" fmla="*/ 62089 w 62089"/>
                <a:gd name="connsiteY8" fmla="*/ 24105 h 48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089" h="48210">
                  <a:moveTo>
                    <a:pt x="62089" y="24105"/>
                  </a:moveTo>
                  <a:cubicBezTo>
                    <a:pt x="62089" y="37619"/>
                    <a:pt x="51497" y="48210"/>
                    <a:pt x="37984" y="48210"/>
                  </a:cubicBezTo>
                  <a:lnTo>
                    <a:pt x="24105" y="48210"/>
                  </a:lnTo>
                  <a:cubicBezTo>
                    <a:pt x="10592" y="48210"/>
                    <a:pt x="0" y="37619"/>
                    <a:pt x="0" y="24105"/>
                  </a:cubicBezTo>
                  <a:lnTo>
                    <a:pt x="0" y="24105"/>
                  </a:lnTo>
                  <a:cubicBezTo>
                    <a:pt x="0" y="10592"/>
                    <a:pt x="10592" y="0"/>
                    <a:pt x="24105" y="0"/>
                  </a:cubicBezTo>
                  <a:lnTo>
                    <a:pt x="37984" y="0"/>
                  </a:lnTo>
                  <a:cubicBezTo>
                    <a:pt x="51497" y="0"/>
                    <a:pt x="62089" y="10592"/>
                    <a:pt x="62089" y="24105"/>
                  </a:cubicBezTo>
                  <a:lnTo>
                    <a:pt x="62089" y="24105"/>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0" name="Freeform: Shape 2336">
              <a:extLst>
                <a:ext uri="{FF2B5EF4-FFF2-40B4-BE49-F238E27FC236}">
                  <a16:creationId xmlns:a16="http://schemas.microsoft.com/office/drawing/2014/main" id="{770B2C31-C944-8151-9AE2-A43E182DF219}"/>
                </a:ext>
              </a:extLst>
            </p:cNvPr>
            <p:cNvSpPr/>
            <p:nvPr/>
          </p:nvSpPr>
          <p:spPr>
            <a:xfrm>
              <a:off x="8761587" y="2805249"/>
              <a:ext cx="372169" cy="59167"/>
            </a:xfrm>
            <a:custGeom>
              <a:avLst/>
              <a:gdLst>
                <a:gd name="connsiteX0" fmla="*/ 371439 w 372169"/>
                <a:gd name="connsiteY0" fmla="*/ 59167 h 59167"/>
                <a:gd name="connsiteX1" fmla="*/ 372170 w 372169"/>
                <a:gd name="connsiteY1" fmla="*/ 35427 h 59167"/>
                <a:gd name="connsiteX2" fmla="*/ 344047 w 372169"/>
                <a:gd name="connsiteY2" fmla="*/ 0 h 59167"/>
                <a:gd name="connsiteX3" fmla="*/ 28123 w 372169"/>
                <a:gd name="connsiteY3" fmla="*/ 0 h 59167"/>
                <a:gd name="connsiteX4" fmla="*/ 0 w 372169"/>
                <a:gd name="connsiteY4" fmla="*/ 35427 h 59167"/>
                <a:gd name="connsiteX5" fmla="*/ 730 w 372169"/>
                <a:gd name="connsiteY5" fmla="*/ 59167 h 59167"/>
                <a:gd name="connsiteX6" fmla="*/ 371804 w 372169"/>
                <a:gd name="connsiteY6" fmla="*/ 59167 h 59167"/>
                <a:gd name="connsiteX7" fmla="*/ 371439 w 372169"/>
                <a:gd name="connsiteY7" fmla="*/ 59167 h 59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169" h="59167">
                  <a:moveTo>
                    <a:pt x="371439" y="59167"/>
                  </a:moveTo>
                  <a:cubicBezTo>
                    <a:pt x="371804" y="56611"/>
                    <a:pt x="372170" y="37984"/>
                    <a:pt x="372170" y="35427"/>
                  </a:cubicBezTo>
                  <a:cubicBezTo>
                    <a:pt x="372170" y="15705"/>
                    <a:pt x="359752" y="0"/>
                    <a:pt x="344047" y="0"/>
                  </a:cubicBezTo>
                  <a:lnTo>
                    <a:pt x="28123" y="0"/>
                  </a:lnTo>
                  <a:cubicBezTo>
                    <a:pt x="12418" y="0"/>
                    <a:pt x="0" y="16070"/>
                    <a:pt x="0" y="35427"/>
                  </a:cubicBezTo>
                  <a:cubicBezTo>
                    <a:pt x="0" y="38714"/>
                    <a:pt x="0" y="56611"/>
                    <a:pt x="730" y="59167"/>
                  </a:cubicBezTo>
                  <a:lnTo>
                    <a:pt x="371804" y="59167"/>
                  </a:lnTo>
                  <a:lnTo>
                    <a:pt x="371439" y="59167"/>
                  </a:lnTo>
                  <a:close/>
                </a:path>
              </a:pathLst>
            </a:custGeom>
            <a:solidFill>
              <a:srgbClr val="5380A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1" name="Freeform: Shape 2337">
              <a:extLst>
                <a:ext uri="{FF2B5EF4-FFF2-40B4-BE49-F238E27FC236}">
                  <a16:creationId xmlns:a16="http://schemas.microsoft.com/office/drawing/2014/main" id="{FFFF6179-7AB3-0FD3-F169-7BD32C04071C}"/>
                </a:ext>
              </a:extLst>
            </p:cNvPr>
            <p:cNvSpPr/>
            <p:nvPr/>
          </p:nvSpPr>
          <p:spPr>
            <a:xfrm>
              <a:off x="8757935" y="2863321"/>
              <a:ext cx="379109" cy="21183"/>
            </a:xfrm>
            <a:custGeom>
              <a:avLst/>
              <a:gdLst>
                <a:gd name="connsiteX0" fmla="*/ 0 w 379109"/>
                <a:gd name="connsiteY0" fmla="*/ 10592 h 21183"/>
                <a:gd name="connsiteX1" fmla="*/ 8035 w 379109"/>
                <a:gd name="connsiteY1" fmla="*/ 21183 h 21183"/>
                <a:gd name="connsiteX2" fmla="*/ 371074 w 379109"/>
                <a:gd name="connsiteY2" fmla="*/ 21183 h 21183"/>
                <a:gd name="connsiteX3" fmla="*/ 379109 w 379109"/>
                <a:gd name="connsiteY3" fmla="*/ 10592 h 21183"/>
                <a:gd name="connsiteX4" fmla="*/ 379109 w 379109"/>
                <a:gd name="connsiteY4" fmla="*/ 10592 h 21183"/>
                <a:gd name="connsiteX5" fmla="*/ 371074 w 379109"/>
                <a:gd name="connsiteY5" fmla="*/ 0 h 21183"/>
                <a:gd name="connsiteX6" fmla="*/ 8035 w 379109"/>
                <a:gd name="connsiteY6" fmla="*/ 0 h 21183"/>
                <a:gd name="connsiteX7" fmla="*/ 0 w 379109"/>
                <a:gd name="connsiteY7" fmla="*/ 10592 h 21183"/>
                <a:gd name="connsiteX8" fmla="*/ 0 w 379109"/>
                <a:gd name="connsiteY8" fmla="*/ 10592 h 2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109" h="21183">
                  <a:moveTo>
                    <a:pt x="0" y="10592"/>
                  </a:moveTo>
                  <a:cubicBezTo>
                    <a:pt x="0" y="16435"/>
                    <a:pt x="3652" y="21183"/>
                    <a:pt x="8035" y="21183"/>
                  </a:cubicBezTo>
                  <a:lnTo>
                    <a:pt x="371074" y="21183"/>
                  </a:lnTo>
                  <a:cubicBezTo>
                    <a:pt x="375457" y="21183"/>
                    <a:pt x="379109" y="16435"/>
                    <a:pt x="379109" y="10592"/>
                  </a:cubicBezTo>
                  <a:lnTo>
                    <a:pt x="379109" y="10592"/>
                  </a:lnTo>
                  <a:cubicBezTo>
                    <a:pt x="379109" y="4748"/>
                    <a:pt x="375457" y="0"/>
                    <a:pt x="371074" y="0"/>
                  </a:cubicBezTo>
                  <a:lnTo>
                    <a:pt x="8035" y="0"/>
                  </a:lnTo>
                  <a:cubicBezTo>
                    <a:pt x="3652" y="0"/>
                    <a:pt x="0" y="4748"/>
                    <a:pt x="0" y="10592"/>
                  </a:cubicBezTo>
                  <a:lnTo>
                    <a:pt x="0" y="10592"/>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2" name="Freeform: Shape 2338">
              <a:extLst>
                <a:ext uri="{FF2B5EF4-FFF2-40B4-BE49-F238E27FC236}">
                  <a16:creationId xmlns:a16="http://schemas.microsoft.com/office/drawing/2014/main" id="{1D55F083-B01F-4882-D9F4-34F46A26C4D5}"/>
                </a:ext>
              </a:extLst>
            </p:cNvPr>
            <p:cNvSpPr/>
            <p:nvPr/>
          </p:nvSpPr>
          <p:spPr>
            <a:xfrm>
              <a:off x="8774005" y="2469200"/>
              <a:ext cx="179350" cy="214071"/>
            </a:xfrm>
            <a:custGeom>
              <a:avLst/>
              <a:gdLst>
                <a:gd name="connsiteX0" fmla="*/ 1826 w 179350"/>
                <a:gd name="connsiteY0" fmla="*/ 212601 h 214071"/>
                <a:gd name="connsiteX1" fmla="*/ 67568 w 179350"/>
                <a:gd name="connsiteY1" fmla="*/ 214062 h 214071"/>
                <a:gd name="connsiteX2" fmla="*/ 170928 w 179350"/>
                <a:gd name="connsiteY2" fmla="*/ 191052 h 214071"/>
                <a:gd name="connsiteX3" fmla="*/ 172389 w 179350"/>
                <a:gd name="connsiteY3" fmla="*/ 23046 h 214071"/>
                <a:gd name="connsiteX4" fmla="*/ 67202 w 179350"/>
                <a:gd name="connsiteY4" fmla="*/ 37 h 214071"/>
                <a:gd name="connsiteX5" fmla="*/ 0 w 179350"/>
                <a:gd name="connsiteY5" fmla="*/ 1498 h 214071"/>
                <a:gd name="connsiteX6" fmla="*/ 1461 w 179350"/>
                <a:gd name="connsiteY6" fmla="*/ 212235 h 214071"/>
                <a:gd name="connsiteX7" fmla="*/ 1826 w 179350"/>
                <a:gd name="connsiteY7" fmla="*/ 212235 h 21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350" h="214071">
                  <a:moveTo>
                    <a:pt x="1826" y="212601"/>
                  </a:moveTo>
                  <a:cubicBezTo>
                    <a:pt x="9496" y="212966"/>
                    <a:pt x="59167" y="214062"/>
                    <a:pt x="67568" y="214062"/>
                  </a:cubicBezTo>
                  <a:cubicBezTo>
                    <a:pt x="121622" y="214427"/>
                    <a:pt x="168736" y="204566"/>
                    <a:pt x="170928" y="191052"/>
                  </a:cubicBezTo>
                  <a:cubicBezTo>
                    <a:pt x="181519" y="135537"/>
                    <a:pt x="182250" y="78561"/>
                    <a:pt x="172389" y="23046"/>
                  </a:cubicBezTo>
                  <a:cubicBezTo>
                    <a:pt x="170197" y="9533"/>
                    <a:pt x="122717" y="-694"/>
                    <a:pt x="67202" y="37"/>
                  </a:cubicBezTo>
                  <a:cubicBezTo>
                    <a:pt x="58802" y="37"/>
                    <a:pt x="8035" y="767"/>
                    <a:pt x="0" y="1498"/>
                  </a:cubicBezTo>
                  <a:cubicBezTo>
                    <a:pt x="17166" y="70891"/>
                    <a:pt x="17531" y="142842"/>
                    <a:pt x="1461" y="212235"/>
                  </a:cubicBezTo>
                  <a:lnTo>
                    <a:pt x="1826" y="212235"/>
                  </a:lnTo>
                  <a:close/>
                </a:path>
              </a:pathLst>
            </a:custGeom>
            <a:solidFill>
              <a:srgbClr val="5380A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3" name="Freeform: Shape 2339">
              <a:extLst>
                <a:ext uri="{FF2B5EF4-FFF2-40B4-BE49-F238E27FC236}">
                  <a16:creationId xmlns:a16="http://schemas.microsoft.com/office/drawing/2014/main" id="{0CE3F182-9B8C-8EE3-894C-733894BB8168}"/>
                </a:ext>
              </a:extLst>
            </p:cNvPr>
            <p:cNvSpPr/>
            <p:nvPr/>
          </p:nvSpPr>
          <p:spPr>
            <a:xfrm>
              <a:off x="8758580" y="2470698"/>
              <a:ext cx="33834" cy="210737"/>
            </a:xfrm>
            <a:custGeom>
              <a:avLst/>
              <a:gdLst>
                <a:gd name="connsiteX0" fmla="*/ 9581 w 33834"/>
                <a:gd name="connsiteY0" fmla="*/ 365 h 210737"/>
                <a:gd name="connsiteX1" fmla="*/ 85 w 33834"/>
                <a:gd name="connsiteY1" fmla="*/ 6574 h 210737"/>
                <a:gd name="connsiteX2" fmla="*/ 1912 w 33834"/>
                <a:gd name="connsiteY2" fmla="*/ 204529 h 210737"/>
                <a:gd name="connsiteX3" fmla="*/ 11408 w 33834"/>
                <a:gd name="connsiteY3" fmla="*/ 210738 h 210737"/>
                <a:gd name="connsiteX4" fmla="*/ 11408 w 33834"/>
                <a:gd name="connsiteY4" fmla="*/ 210738 h 210737"/>
                <a:gd name="connsiteX5" fmla="*/ 23460 w 33834"/>
                <a:gd name="connsiteY5" fmla="*/ 204529 h 210737"/>
                <a:gd name="connsiteX6" fmla="*/ 21999 w 33834"/>
                <a:gd name="connsiteY6" fmla="*/ 6209 h 210737"/>
                <a:gd name="connsiteX7" fmla="*/ 9581 w 33834"/>
                <a:gd name="connsiteY7" fmla="*/ 0 h 210737"/>
                <a:gd name="connsiteX8" fmla="*/ 9581 w 33834"/>
                <a:gd name="connsiteY8" fmla="*/ 0 h 210737"/>
                <a:gd name="connsiteX9" fmla="*/ 9581 w 33834"/>
                <a:gd name="connsiteY9" fmla="*/ 365 h 210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34" h="210737">
                  <a:moveTo>
                    <a:pt x="9581" y="365"/>
                  </a:moveTo>
                  <a:cubicBezTo>
                    <a:pt x="3373" y="365"/>
                    <a:pt x="-645" y="3652"/>
                    <a:pt x="85" y="6574"/>
                  </a:cubicBezTo>
                  <a:cubicBezTo>
                    <a:pt x="15425" y="71950"/>
                    <a:pt x="15790" y="139153"/>
                    <a:pt x="1912" y="204529"/>
                  </a:cubicBezTo>
                  <a:cubicBezTo>
                    <a:pt x="1181" y="208181"/>
                    <a:pt x="5564" y="210738"/>
                    <a:pt x="11408" y="210738"/>
                  </a:cubicBezTo>
                  <a:lnTo>
                    <a:pt x="11408" y="210738"/>
                  </a:lnTo>
                  <a:cubicBezTo>
                    <a:pt x="17251" y="210738"/>
                    <a:pt x="23095" y="208181"/>
                    <a:pt x="23460" y="204529"/>
                  </a:cubicBezTo>
                  <a:cubicBezTo>
                    <a:pt x="37704" y="139153"/>
                    <a:pt x="37339" y="71585"/>
                    <a:pt x="21999" y="6209"/>
                  </a:cubicBezTo>
                  <a:cubicBezTo>
                    <a:pt x="21269" y="2557"/>
                    <a:pt x="15790" y="0"/>
                    <a:pt x="9581" y="0"/>
                  </a:cubicBezTo>
                  <a:lnTo>
                    <a:pt x="9581" y="0"/>
                  </a:lnTo>
                  <a:lnTo>
                    <a:pt x="9581" y="365"/>
                  </a:lnTo>
                  <a:close/>
                </a:path>
              </a:pathLst>
            </a:custGeom>
            <a:solidFill>
              <a:srgbClr val="50708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4" name="Freeform: Shape 2340">
              <a:extLst>
                <a:ext uri="{FF2B5EF4-FFF2-40B4-BE49-F238E27FC236}">
                  <a16:creationId xmlns:a16="http://schemas.microsoft.com/office/drawing/2014/main" id="{528CD067-76AF-E047-720E-A15171D4CA18}"/>
                </a:ext>
              </a:extLst>
            </p:cNvPr>
            <p:cNvSpPr/>
            <p:nvPr/>
          </p:nvSpPr>
          <p:spPr>
            <a:xfrm>
              <a:off x="8764509" y="2469959"/>
              <a:ext cx="49174" cy="212207"/>
            </a:xfrm>
            <a:custGeom>
              <a:avLst/>
              <a:gdLst>
                <a:gd name="connsiteX0" fmla="*/ 1461 w 49174"/>
                <a:gd name="connsiteY0" fmla="*/ 211477 h 212207"/>
                <a:gd name="connsiteX1" fmla="*/ 15705 w 49174"/>
                <a:gd name="connsiteY1" fmla="*/ 212208 h 212207"/>
                <a:gd name="connsiteX2" fmla="*/ 42001 w 49174"/>
                <a:gd name="connsiteY2" fmla="*/ 188833 h 212207"/>
                <a:gd name="connsiteX3" fmla="*/ 41271 w 49174"/>
                <a:gd name="connsiteY3" fmla="*/ 23384 h 212207"/>
                <a:gd name="connsiteX4" fmla="*/ 14244 w 49174"/>
                <a:gd name="connsiteY4" fmla="*/ 9 h 212207"/>
                <a:gd name="connsiteX5" fmla="*/ 0 w 49174"/>
                <a:gd name="connsiteY5" fmla="*/ 740 h 212207"/>
                <a:gd name="connsiteX6" fmla="*/ 1826 w 49174"/>
                <a:gd name="connsiteY6" fmla="*/ 211112 h 212207"/>
                <a:gd name="connsiteX7" fmla="*/ 1461 w 49174"/>
                <a:gd name="connsiteY7" fmla="*/ 211112 h 212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174" h="212207">
                  <a:moveTo>
                    <a:pt x="1461" y="211477"/>
                  </a:moveTo>
                  <a:cubicBezTo>
                    <a:pt x="1461" y="211477"/>
                    <a:pt x="13879" y="212208"/>
                    <a:pt x="15705" y="212208"/>
                  </a:cubicBezTo>
                  <a:cubicBezTo>
                    <a:pt x="27392" y="212208"/>
                    <a:pt x="39810" y="201981"/>
                    <a:pt x="42001" y="188833"/>
                  </a:cubicBezTo>
                  <a:cubicBezTo>
                    <a:pt x="51863" y="134049"/>
                    <a:pt x="51497" y="78168"/>
                    <a:pt x="41271" y="23384"/>
                  </a:cubicBezTo>
                  <a:cubicBezTo>
                    <a:pt x="38714" y="10236"/>
                    <a:pt x="26662" y="-356"/>
                    <a:pt x="14244" y="9"/>
                  </a:cubicBezTo>
                  <a:cubicBezTo>
                    <a:pt x="12418" y="9"/>
                    <a:pt x="1096" y="9"/>
                    <a:pt x="0" y="740"/>
                  </a:cubicBezTo>
                  <a:cubicBezTo>
                    <a:pt x="17166" y="70133"/>
                    <a:pt x="17531" y="142084"/>
                    <a:pt x="1826" y="211112"/>
                  </a:cubicBezTo>
                  <a:lnTo>
                    <a:pt x="1461" y="211112"/>
                  </a:lnTo>
                  <a:close/>
                </a:path>
              </a:pathLst>
            </a:custGeom>
            <a:solidFill>
              <a:srgbClr val="2B5580"/>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5" name="Freeform: Shape 2341">
              <a:extLst>
                <a:ext uri="{FF2B5EF4-FFF2-40B4-BE49-F238E27FC236}">
                  <a16:creationId xmlns:a16="http://schemas.microsoft.com/office/drawing/2014/main" id="{0D52DAAE-817F-6237-9998-A9E8256E3668}"/>
                </a:ext>
              </a:extLst>
            </p:cNvPr>
            <p:cNvSpPr/>
            <p:nvPr/>
          </p:nvSpPr>
          <p:spPr>
            <a:xfrm>
              <a:off x="9158592" y="2548127"/>
              <a:ext cx="170562" cy="35062"/>
            </a:xfrm>
            <a:custGeom>
              <a:avLst/>
              <a:gdLst>
                <a:gd name="connsiteX0" fmla="*/ 169832 w 170562"/>
                <a:gd name="connsiteY0" fmla="*/ 34332 h 35062"/>
                <a:gd name="connsiteX1" fmla="*/ 156319 w 170562"/>
                <a:gd name="connsiteY1" fmla="*/ 17896 h 35062"/>
                <a:gd name="connsiteX2" fmla="*/ 142075 w 170562"/>
                <a:gd name="connsiteY2" fmla="*/ 7670 h 35062"/>
                <a:gd name="connsiteX3" fmla="*/ 114317 w 170562"/>
                <a:gd name="connsiteY3" fmla="*/ 1461 h 35062"/>
                <a:gd name="connsiteX4" fmla="*/ 72316 w 170562"/>
                <a:gd name="connsiteY4" fmla="*/ 1461 h 35062"/>
                <a:gd name="connsiteX5" fmla="*/ 9496 w 170562"/>
                <a:gd name="connsiteY5" fmla="*/ 1461 h 35062"/>
                <a:gd name="connsiteX6" fmla="*/ 0 w 170562"/>
                <a:gd name="connsiteY6" fmla="*/ 18992 h 35062"/>
                <a:gd name="connsiteX7" fmla="*/ 60993 w 170562"/>
                <a:gd name="connsiteY7" fmla="*/ 19722 h 35062"/>
                <a:gd name="connsiteX8" fmla="*/ 115048 w 170562"/>
                <a:gd name="connsiteY8" fmla="*/ 27757 h 35062"/>
                <a:gd name="connsiteX9" fmla="*/ 130752 w 170562"/>
                <a:gd name="connsiteY9" fmla="*/ 26297 h 35062"/>
                <a:gd name="connsiteX10" fmla="*/ 131483 w 170562"/>
                <a:gd name="connsiteY10" fmla="*/ 23010 h 35062"/>
                <a:gd name="connsiteX11" fmla="*/ 113587 w 170562"/>
                <a:gd name="connsiteY11" fmla="*/ 20453 h 35062"/>
                <a:gd name="connsiteX12" fmla="*/ 111395 w 170562"/>
                <a:gd name="connsiteY12" fmla="*/ 14244 h 35062"/>
                <a:gd name="connsiteX13" fmla="*/ 146457 w 170562"/>
                <a:gd name="connsiteY13" fmla="*/ 20088 h 35062"/>
                <a:gd name="connsiteX14" fmla="*/ 158510 w 170562"/>
                <a:gd name="connsiteY14" fmla="*/ 29584 h 35062"/>
                <a:gd name="connsiteX15" fmla="*/ 170563 w 170562"/>
                <a:gd name="connsiteY15" fmla="*/ 35062 h 35062"/>
                <a:gd name="connsiteX16" fmla="*/ 169832 w 170562"/>
                <a:gd name="connsiteY16" fmla="*/ 34332 h 35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0562" h="35062">
                  <a:moveTo>
                    <a:pt x="169832" y="34332"/>
                  </a:moveTo>
                  <a:lnTo>
                    <a:pt x="156319" y="17896"/>
                  </a:lnTo>
                  <a:lnTo>
                    <a:pt x="142075" y="7670"/>
                  </a:lnTo>
                  <a:lnTo>
                    <a:pt x="114317" y="1461"/>
                  </a:lnTo>
                  <a:cubicBezTo>
                    <a:pt x="114317" y="1461"/>
                    <a:pt x="84003" y="-1826"/>
                    <a:pt x="72316" y="1461"/>
                  </a:cubicBezTo>
                  <a:cubicBezTo>
                    <a:pt x="60628" y="4748"/>
                    <a:pt x="14974" y="730"/>
                    <a:pt x="9496" y="1461"/>
                  </a:cubicBezTo>
                  <a:cubicBezTo>
                    <a:pt x="3652" y="2191"/>
                    <a:pt x="0" y="18992"/>
                    <a:pt x="0" y="18992"/>
                  </a:cubicBezTo>
                  <a:cubicBezTo>
                    <a:pt x="0" y="18992"/>
                    <a:pt x="41636" y="20453"/>
                    <a:pt x="60993" y="19722"/>
                  </a:cubicBezTo>
                  <a:cubicBezTo>
                    <a:pt x="80351" y="19357"/>
                    <a:pt x="108108" y="27757"/>
                    <a:pt x="115048" y="27757"/>
                  </a:cubicBezTo>
                  <a:cubicBezTo>
                    <a:pt x="120891" y="27757"/>
                    <a:pt x="126735" y="27392"/>
                    <a:pt x="130752" y="26297"/>
                  </a:cubicBezTo>
                  <a:cubicBezTo>
                    <a:pt x="135500" y="25566"/>
                    <a:pt x="135135" y="24105"/>
                    <a:pt x="131483" y="23010"/>
                  </a:cubicBezTo>
                  <a:cubicBezTo>
                    <a:pt x="125274" y="22279"/>
                    <a:pt x="116874" y="20453"/>
                    <a:pt x="113587" y="20453"/>
                  </a:cubicBezTo>
                  <a:cubicBezTo>
                    <a:pt x="108108" y="20453"/>
                    <a:pt x="111395" y="14244"/>
                    <a:pt x="111395" y="14244"/>
                  </a:cubicBezTo>
                  <a:cubicBezTo>
                    <a:pt x="111395" y="14244"/>
                    <a:pt x="139153" y="16435"/>
                    <a:pt x="146457" y="20088"/>
                  </a:cubicBezTo>
                  <a:cubicBezTo>
                    <a:pt x="153762" y="23740"/>
                    <a:pt x="155588" y="26662"/>
                    <a:pt x="158510" y="29584"/>
                  </a:cubicBezTo>
                  <a:cubicBezTo>
                    <a:pt x="163258" y="33966"/>
                    <a:pt x="170563" y="35062"/>
                    <a:pt x="170563" y="35062"/>
                  </a:cubicBezTo>
                  <a:lnTo>
                    <a:pt x="169832" y="34332"/>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6" name="Freeform: Shape 2342">
              <a:extLst>
                <a:ext uri="{FF2B5EF4-FFF2-40B4-BE49-F238E27FC236}">
                  <a16:creationId xmlns:a16="http://schemas.microsoft.com/office/drawing/2014/main" id="{F3EB6D0B-3CD3-19B9-5C05-F1F8C9E08075}"/>
                </a:ext>
              </a:extLst>
            </p:cNvPr>
            <p:cNvSpPr/>
            <p:nvPr/>
          </p:nvSpPr>
          <p:spPr>
            <a:xfrm>
              <a:off x="8919001" y="2049588"/>
              <a:ext cx="187728" cy="254565"/>
            </a:xfrm>
            <a:custGeom>
              <a:avLst/>
              <a:gdLst>
                <a:gd name="connsiteX0" fmla="*/ 97516 w 187728"/>
                <a:gd name="connsiteY0" fmla="*/ 254565 h 254565"/>
                <a:gd name="connsiteX1" fmla="*/ 78159 w 187728"/>
                <a:gd name="connsiteY1" fmla="*/ 217312 h 254565"/>
                <a:gd name="connsiteX2" fmla="*/ 0 w 187728"/>
                <a:gd name="connsiteY2" fmla="*/ 108473 h 254565"/>
                <a:gd name="connsiteX3" fmla="*/ 0 w 187728"/>
                <a:gd name="connsiteY3" fmla="*/ 78890 h 254565"/>
                <a:gd name="connsiteX4" fmla="*/ 78890 w 187728"/>
                <a:gd name="connsiteY4" fmla="*/ 0 h 254565"/>
                <a:gd name="connsiteX5" fmla="*/ 97882 w 187728"/>
                <a:gd name="connsiteY5" fmla="*/ 0 h 254565"/>
                <a:gd name="connsiteX6" fmla="*/ 187728 w 187728"/>
                <a:gd name="connsiteY6" fmla="*/ 81446 h 254565"/>
                <a:gd name="connsiteX7" fmla="*/ 187728 w 187728"/>
                <a:gd name="connsiteY7" fmla="*/ 164354 h 254565"/>
                <a:gd name="connsiteX8" fmla="*/ 177137 w 187728"/>
                <a:gd name="connsiteY8" fmla="*/ 191381 h 254565"/>
                <a:gd name="connsiteX9" fmla="*/ 97516 w 187728"/>
                <a:gd name="connsiteY9" fmla="*/ 254565 h 254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7728" h="254565">
                  <a:moveTo>
                    <a:pt x="97516" y="254565"/>
                  </a:moveTo>
                  <a:lnTo>
                    <a:pt x="78159" y="217312"/>
                  </a:lnTo>
                  <a:cubicBezTo>
                    <a:pt x="34697" y="217312"/>
                    <a:pt x="0" y="151936"/>
                    <a:pt x="0" y="108473"/>
                  </a:cubicBezTo>
                  <a:lnTo>
                    <a:pt x="0" y="78890"/>
                  </a:lnTo>
                  <a:cubicBezTo>
                    <a:pt x="0" y="35427"/>
                    <a:pt x="35427" y="0"/>
                    <a:pt x="78890" y="0"/>
                  </a:cubicBezTo>
                  <a:lnTo>
                    <a:pt x="97882" y="0"/>
                  </a:lnTo>
                  <a:cubicBezTo>
                    <a:pt x="141344" y="0"/>
                    <a:pt x="187728" y="37619"/>
                    <a:pt x="187728" y="81446"/>
                  </a:cubicBezTo>
                  <a:lnTo>
                    <a:pt x="187728" y="164354"/>
                  </a:lnTo>
                  <a:cubicBezTo>
                    <a:pt x="187363" y="176771"/>
                    <a:pt x="182615" y="183346"/>
                    <a:pt x="177137" y="191381"/>
                  </a:cubicBezTo>
                  <a:cubicBezTo>
                    <a:pt x="161797" y="213660"/>
                    <a:pt x="130022" y="254565"/>
                    <a:pt x="97516" y="254565"/>
                  </a:cubicBezTo>
                  <a:close/>
                </a:path>
              </a:pathLst>
            </a:custGeom>
            <a:solidFill>
              <a:srgbClr val="A37E5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7" name="Freeform: Shape 2343">
              <a:extLst>
                <a:ext uri="{FF2B5EF4-FFF2-40B4-BE49-F238E27FC236}">
                  <a16:creationId xmlns:a16="http://schemas.microsoft.com/office/drawing/2014/main" id="{36062B1B-A4CC-10BC-B3AD-DE2E693484F9}"/>
                </a:ext>
              </a:extLst>
            </p:cNvPr>
            <p:cNvSpPr/>
            <p:nvPr/>
          </p:nvSpPr>
          <p:spPr>
            <a:xfrm>
              <a:off x="8828424" y="2127017"/>
              <a:ext cx="207815" cy="204894"/>
            </a:xfrm>
            <a:custGeom>
              <a:avLst/>
              <a:gdLst>
                <a:gd name="connsiteX0" fmla="*/ 102630 w 207815"/>
                <a:gd name="connsiteY0" fmla="*/ 0 h 204894"/>
                <a:gd name="connsiteX1" fmla="*/ 89847 w 207815"/>
                <a:gd name="connsiteY1" fmla="*/ 730 h 204894"/>
                <a:gd name="connsiteX2" fmla="*/ 91673 w 207815"/>
                <a:gd name="connsiteY2" fmla="*/ 16801 h 204894"/>
                <a:gd name="connsiteX3" fmla="*/ 0 w 207815"/>
                <a:gd name="connsiteY3" fmla="*/ 118335 h 204894"/>
                <a:gd name="connsiteX4" fmla="*/ 103360 w 207815"/>
                <a:gd name="connsiteY4" fmla="*/ 204894 h 204894"/>
                <a:gd name="connsiteX5" fmla="*/ 207816 w 207815"/>
                <a:gd name="connsiteY5" fmla="*/ 102630 h 204894"/>
                <a:gd name="connsiteX6" fmla="*/ 103360 w 207815"/>
                <a:gd name="connsiteY6" fmla="*/ 365 h 204894"/>
                <a:gd name="connsiteX7" fmla="*/ 102630 w 207815"/>
                <a:gd name="connsiteY7" fmla="*/ 0 h 204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815" h="204894">
                  <a:moveTo>
                    <a:pt x="102630" y="0"/>
                  </a:moveTo>
                  <a:cubicBezTo>
                    <a:pt x="98247" y="0"/>
                    <a:pt x="94229" y="0"/>
                    <a:pt x="89847" y="730"/>
                  </a:cubicBezTo>
                  <a:cubicBezTo>
                    <a:pt x="90942" y="5844"/>
                    <a:pt x="91673" y="11322"/>
                    <a:pt x="91673" y="16801"/>
                  </a:cubicBezTo>
                  <a:cubicBezTo>
                    <a:pt x="91673" y="69028"/>
                    <a:pt x="51863" y="112126"/>
                    <a:pt x="0" y="118335"/>
                  </a:cubicBezTo>
                  <a:cubicBezTo>
                    <a:pt x="7670" y="167275"/>
                    <a:pt x="51132" y="204894"/>
                    <a:pt x="103360" y="204894"/>
                  </a:cubicBezTo>
                  <a:cubicBezTo>
                    <a:pt x="161067" y="204894"/>
                    <a:pt x="207816" y="158875"/>
                    <a:pt x="207816" y="102630"/>
                  </a:cubicBezTo>
                  <a:cubicBezTo>
                    <a:pt x="207816" y="46384"/>
                    <a:pt x="161067" y="365"/>
                    <a:pt x="103360" y="365"/>
                  </a:cubicBezTo>
                  <a:lnTo>
                    <a:pt x="102630" y="0"/>
                  </a:lnTo>
                  <a:close/>
                </a:path>
              </a:pathLst>
            </a:custGeom>
            <a:solidFill>
              <a:srgbClr val="A37E5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8" name="Freeform: Shape 2344">
              <a:extLst>
                <a:ext uri="{FF2B5EF4-FFF2-40B4-BE49-F238E27FC236}">
                  <a16:creationId xmlns:a16="http://schemas.microsoft.com/office/drawing/2014/main" id="{00706A4D-E125-D16E-0FE8-A69FF83D2531}"/>
                </a:ext>
              </a:extLst>
            </p:cNvPr>
            <p:cNvSpPr/>
            <p:nvPr/>
          </p:nvSpPr>
          <p:spPr>
            <a:xfrm>
              <a:off x="8938191" y="2079172"/>
              <a:ext cx="153471" cy="299535"/>
            </a:xfrm>
            <a:custGeom>
              <a:avLst/>
              <a:gdLst>
                <a:gd name="connsiteX0" fmla="*/ 125807 w 153471"/>
                <a:gd name="connsiteY0" fmla="*/ 730 h 299535"/>
                <a:gd name="connsiteX1" fmla="*/ 123981 w 153471"/>
                <a:gd name="connsiteY1" fmla="*/ 23009 h 299535"/>
                <a:gd name="connsiteX2" fmla="*/ 40708 w 153471"/>
                <a:gd name="connsiteY2" fmla="*/ 110300 h 299535"/>
                <a:gd name="connsiteX3" fmla="*/ 29751 w 153471"/>
                <a:gd name="connsiteY3" fmla="*/ 171293 h 299535"/>
                <a:gd name="connsiteX4" fmla="*/ 167 w 153471"/>
                <a:gd name="connsiteY4" fmla="*/ 212199 h 299535"/>
                <a:gd name="connsiteX5" fmla="*/ 122885 w 153471"/>
                <a:gd name="connsiteY5" fmla="*/ 299123 h 299535"/>
                <a:gd name="connsiteX6" fmla="*/ 90014 w 153471"/>
                <a:gd name="connsiteY6" fmla="*/ 212199 h 299535"/>
                <a:gd name="connsiteX7" fmla="*/ 102067 w 153471"/>
                <a:gd name="connsiteY7" fmla="*/ 149014 h 299535"/>
                <a:gd name="connsiteX8" fmla="*/ 115580 w 153471"/>
                <a:gd name="connsiteY8" fmla="*/ 146457 h 299535"/>
                <a:gd name="connsiteX9" fmla="*/ 130555 w 153471"/>
                <a:gd name="connsiteY9" fmla="*/ 144266 h 299535"/>
                <a:gd name="connsiteX10" fmla="*/ 152103 w 153471"/>
                <a:gd name="connsiteY10" fmla="*/ 44923 h 299535"/>
                <a:gd name="connsiteX11" fmla="*/ 125807 w 153471"/>
                <a:gd name="connsiteY11" fmla="*/ 0 h 299535"/>
                <a:gd name="connsiteX12" fmla="*/ 125807 w 153471"/>
                <a:gd name="connsiteY12" fmla="*/ 730 h 299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471" h="299535">
                  <a:moveTo>
                    <a:pt x="125807" y="730"/>
                  </a:moveTo>
                  <a:cubicBezTo>
                    <a:pt x="125807" y="8035"/>
                    <a:pt x="125076" y="15340"/>
                    <a:pt x="123981" y="23009"/>
                  </a:cubicBezTo>
                  <a:cubicBezTo>
                    <a:pt x="116311" y="73411"/>
                    <a:pt x="73944" y="105917"/>
                    <a:pt x="40708" y="110300"/>
                  </a:cubicBezTo>
                  <a:cubicBezTo>
                    <a:pt x="39612" y="132944"/>
                    <a:pt x="35230" y="153762"/>
                    <a:pt x="29751" y="171293"/>
                  </a:cubicBezTo>
                  <a:cubicBezTo>
                    <a:pt x="23542" y="191381"/>
                    <a:pt x="167" y="212199"/>
                    <a:pt x="167" y="212199"/>
                  </a:cubicBezTo>
                  <a:cubicBezTo>
                    <a:pt x="-5311" y="247261"/>
                    <a:pt x="125441" y="304967"/>
                    <a:pt x="122885" y="299123"/>
                  </a:cubicBezTo>
                  <a:cubicBezTo>
                    <a:pt x="119963" y="293645"/>
                    <a:pt x="100241" y="250548"/>
                    <a:pt x="90014" y="212199"/>
                  </a:cubicBezTo>
                  <a:cubicBezTo>
                    <a:pt x="83440" y="185537"/>
                    <a:pt x="91840" y="163988"/>
                    <a:pt x="102067" y="149014"/>
                  </a:cubicBezTo>
                  <a:cubicBezTo>
                    <a:pt x="107180" y="147188"/>
                    <a:pt x="115580" y="146457"/>
                    <a:pt x="115580" y="146457"/>
                  </a:cubicBezTo>
                  <a:cubicBezTo>
                    <a:pt x="116676" y="146457"/>
                    <a:pt x="126902" y="145362"/>
                    <a:pt x="130555" y="144266"/>
                  </a:cubicBezTo>
                  <a:cubicBezTo>
                    <a:pt x="161599" y="135135"/>
                    <a:pt x="152103" y="44923"/>
                    <a:pt x="152103" y="44923"/>
                  </a:cubicBezTo>
                  <a:cubicBezTo>
                    <a:pt x="152103" y="27027"/>
                    <a:pt x="139320" y="10226"/>
                    <a:pt x="125807" y="0"/>
                  </a:cubicBezTo>
                  <a:lnTo>
                    <a:pt x="125807" y="730"/>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9" name="Freeform: Shape 2345">
              <a:extLst>
                <a:ext uri="{FF2B5EF4-FFF2-40B4-BE49-F238E27FC236}">
                  <a16:creationId xmlns:a16="http://schemas.microsoft.com/office/drawing/2014/main" id="{EE6AFC64-3594-C725-90FB-0472E4F7C4F6}"/>
                </a:ext>
              </a:extLst>
            </p:cNvPr>
            <p:cNvSpPr/>
            <p:nvPr/>
          </p:nvSpPr>
          <p:spPr>
            <a:xfrm>
              <a:off x="8844451" y="2509047"/>
              <a:ext cx="361621" cy="342138"/>
            </a:xfrm>
            <a:custGeom>
              <a:avLst/>
              <a:gdLst>
                <a:gd name="connsiteX0" fmla="*/ 4791 w 361621"/>
                <a:gd name="connsiteY0" fmla="*/ 203433 h 342138"/>
                <a:gd name="connsiteX1" fmla="*/ 4791 w 361621"/>
                <a:gd name="connsiteY1" fmla="*/ 202703 h 342138"/>
                <a:gd name="connsiteX2" fmla="*/ 5157 w 361621"/>
                <a:gd name="connsiteY2" fmla="*/ 201972 h 342138"/>
                <a:gd name="connsiteX3" fmla="*/ 48984 w 361621"/>
                <a:gd name="connsiteY3" fmla="*/ 69759 h 342138"/>
                <a:gd name="connsiteX4" fmla="*/ 107056 w 361621"/>
                <a:gd name="connsiteY4" fmla="*/ 0 h 342138"/>
                <a:gd name="connsiteX5" fmla="*/ 206398 w 361621"/>
                <a:gd name="connsiteY5" fmla="*/ 33966 h 342138"/>
                <a:gd name="connsiteX6" fmla="*/ 216260 w 361621"/>
                <a:gd name="connsiteY6" fmla="*/ 77064 h 342138"/>
                <a:gd name="connsiteX7" fmla="*/ 228678 w 361621"/>
                <a:gd name="connsiteY7" fmla="*/ 154858 h 342138"/>
                <a:gd name="connsiteX8" fmla="*/ 338612 w 361621"/>
                <a:gd name="connsiteY8" fmla="*/ 208546 h 342138"/>
                <a:gd name="connsiteX9" fmla="*/ 361621 w 361621"/>
                <a:gd name="connsiteY9" fmla="*/ 228634 h 342138"/>
                <a:gd name="connsiteX10" fmla="*/ 331307 w 361621"/>
                <a:gd name="connsiteY10" fmla="*/ 338568 h 342138"/>
                <a:gd name="connsiteX11" fmla="*/ 246209 w 361621"/>
                <a:gd name="connsiteY11" fmla="*/ 336012 h 342138"/>
                <a:gd name="connsiteX12" fmla="*/ 165127 w 361621"/>
                <a:gd name="connsiteY12" fmla="*/ 326881 h 342138"/>
                <a:gd name="connsiteX13" fmla="*/ 4426 w 361621"/>
                <a:gd name="connsiteY13" fmla="*/ 202337 h 342138"/>
                <a:gd name="connsiteX14" fmla="*/ 4791 w 361621"/>
                <a:gd name="connsiteY14" fmla="*/ 203433 h 34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1621" h="342138">
                  <a:moveTo>
                    <a:pt x="4791" y="203433"/>
                  </a:moveTo>
                  <a:cubicBezTo>
                    <a:pt x="4791" y="203433"/>
                    <a:pt x="4791" y="203068"/>
                    <a:pt x="4791" y="202703"/>
                  </a:cubicBezTo>
                  <a:cubicBezTo>
                    <a:pt x="4791" y="202703"/>
                    <a:pt x="4791" y="202337"/>
                    <a:pt x="5157" y="201972"/>
                  </a:cubicBezTo>
                  <a:cubicBezTo>
                    <a:pt x="14287" y="155953"/>
                    <a:pt x="28166" y="110665"/>
                    <a:pt x="48984" y="69759"/>
                  </a:cubicBezTo>
                  <a:cubicBezTo>
                    <a:pt x="63593" y="41271"/>
                    <a:pt x="93908" y="13879"/>
                    <a:pt x="107056" y="0"/>
                  </a:cubicBezTo>
                  <a:cubicBezTo>
                    <a:pt x="141022" y="18262"/>
                    <a:pt x="174623" y="9861"/>
                    <a:pt x="206398" y="33966"/>
                  </a:cubicBezTo>
                  <a:cubicBezTo>
                    <a:pt x="210416" y="47115"/>
                    <a:pt x="214068" y="61359"/>
                    <a:pt x="216260" y="77064"/>
                  </a:cubicBezTo>
                  <a:cubicBezTo>
                    <a:pt x="221008" y="104821"/>
                    <a:pt x="225390" y="130752"/>
                    <a:pt x="228678" y="154858"/>
                  </a:cubicBezTo>
                  <a:cubicBezTo>
                    <a:pt x="287480" y="172023"/>
                    <a:pt x="306837" y="188094"/>
                    <a:pt x="338612" y="208546"/>
                  </a:cubicBezTo>
                  <a:cubicBezTo>
                    <a:pt x="342629" y="210738"/>
                    <a:pt x="356873" y="225712"/>
                    <a:pt x="361621" y="228634"/>
                  </a:cubicBezTo>
                  <a:cubicBezTo>
                    <a:pt x="359430" y="272827"/>
                    <a:pt x="353221" y="303506"/>
                    <a:pt x="331307" y="338568"/>
                  </a:cubicBezTo>
                  <a:cubicBezTo>
                    <a:pt x="327290" y="344777"/>
                    <a:pt x="284193" y="342221"/>
                    <a:pt x="246209" y="336012"/>
                  </a:cubicBezTo>
                  <a:cubicBezTo>
                    <a:pt x="228678" y="333455"/>
                    <a:pt x="170971" y="329803"/>
                    <a:pt x="165127" y="326881"/>
                  </a:cubicBezTo>
                  <a:cubicBezTo>
                    <a:pt x="-25158" y="306793"/>
                    <a:pt x="-2148" y="238130"/>
                    <a:pt x="4426" y="202337"/>
                  </a:cubicBezTo>
                  <a:lnTo>
                    <a:pt x="4791" y="203433"/>
                  </a:lnTo>
                  <a:close/>
                </a:path>
              </a:pathLst>
            </a:custGeom>
            <a:solidFill>
              <a:schemeClr val="accent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0" name="Freeform: Shape 2346">
              <a:extLst>
                <a:ext uri="{FF2B5EF4-FFF2-40B4-BE49-F238E27FC236}">
                  <a16:creationId xmlns:a16="http://schemas.microsoft.com/office/drawing/2014/main" id="{914281F6-1F6F-21D8-690E-1EB393C3F986}"/>
                </a:ext>
              </a:extLst>
            </p:cNvPr>
            <p:cNvSpPr/>
            <p:nvPr/>
          </p:nvSpPr>
          <p:spPr>
            <a:xfrm>
              <a:off x="8917424" y="2751425"/>
              <a:ext cx="313762" cy="424553"/>
            </a:xfrm>
            <a:custGeom>
              <a:avLst/>
              <a:gdLst>
                <a:gd name="connsiteX0" fmla="*/ 292300 w 313762"/>
                <a:gd name="connsiteY0" fmla="*/ 71720 h 424553"/>
                <a:gd name="connsiteX1" fmla="*/ 310562 w 313762"/>
                <a:gd name="connsiteY1" fmla="*/ 41406 h 424553"/>
                <a:gd name="connsiteX2" fmla="*/ 309831 w 313762"/>
                <a:gd name="connsiteY2" fmla="*/ 3788 h 424553"/>
                <a:gd name="connsiteX3" fmla="*/ 103111 w 313762"/>
                <a:gd name="connsiteY3" fmla="*/ 243379 h 424553"/>
                <a:gd name="connsiteX4" fmla="*/ 116 w 313762"/>
                <a:gd name="connsiteY4" fmla="*/ 424533 h 424553"/>
                <a:gd name="connsiteX5" fmla="*/ 292300 w 313762"/>
                <a:gd name="connsiteY5" fmla="*/ 71355 h 424553"/>
                <a:gd name="connsiteX6" fmla="*/ 292300 w 313762"/>
                <a:gd name="connsiteY6" fmla="*/ 71720 h 424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762" h="424553">
                  <a:moveTo>
                    <a:pt x="292300" y="71720"/>
                  </a:moveTo>
                  <a:cubicBezTo>
                    <a:pt x="298509" y="61494"/>
                    <a:pt x="304718" y="51633"/>
                    <a:pt x="310562" y="41406"/>
                  </a:cubicBezTo>
                  <a:cubicBezTo>
                    <a:pt x="314945" y="22049"/>
                    <a:pt x="314945" y="8901"/>
                    <a:pt x="309831" y="3788"/>
                  </a:cubicBezTo>
                  <a:cubicBezTo>
                    <a:pt x="288648" y="-14474"/>
                    <a:pt x="206106" y="28258"/>
                    <a:pt x="103111" y="243379"/>
                  </a:cubicBezTo>
                  <a:cubicBezTo>
                    <a:pt x="97633" y="253970"/>
                    <a:pt x="-3901" y="426724"/>
                    <a:pt x="116" y="424533"/>
                  </a:cubicBezTo>
                  <a:cubicBezTo>
                    <a:pt x="49057" y="394584"/>
                    <a:pt x="199167" y="221830"/>
                    <a:pt x="292300" y="71355"/>
                  </a:cubicBezTo>
                  <a:lnTo>
                    <a:pt x="292300" y="71720"/>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1" name="Freeform: Shape 2347">
              <a:extLst>
                <a:ext uri="{FF2B5EF4-FFF2-40B4-BE49-F238E27FC236}">
                  <a16:creationId xmlns:a16="http://schemas.microsoft.com/office/drawing/2014/main" id="{B343DD7E-47AF-2E1F-B8BA-E1DAF396EB34}"/>
                </a:ext>
              </a:extLst>
            </p:cNvPr>
            <p:cNvSpPr/>
            <p:nvPr/>
          </p:nvSpPr>
          <p:spPr>
            <a:xfrm>
              <a:off x="8913345" y="3097798"/>
              <a:ext cx="49118" cy="86040"/>
            </a:xfrm>
            <a:custGeom>
              <a:avLst/>
              <a:gdLst>
                <a:gd name="connsiteX0" fmla="*/ 3100 w 49118"/>
                <a:gd name="connsiteY0" fmla="*/ 59898 h 86040"/>
                <a:gd name="connsiteX1" fmla="*/ 35605 w 49118"/>
                <a:gd name="connsiteY1" fmla="*/ 7670 h 86040"/>
                <a:gd name="connsiteX2" fmla="*/ 49119 w 49118"/>
                <a:gd name="connsiteY2" fmla="*/ 0 h 86040"/>
                <a:gd name="connsiteX3" fmla="*/ 23918 w 49118"/>
                <a:gd name="connsiteY3" fmla="*/ 40175 h 86040"/>
                <a:gd name="connsiteX4" fmla="*/ 26475 w 49118"/>
                <a:gd name="connsiteY4" fmla="*/ 63915 h 86040"/>
                <a:gd name="connsiteX5" fmla="*/ 33779 w 49118"/>
                <a:gd name="connsiteY5" fmla="*/ 66472 h 86040"/>
                <a:gd name="connsiteX6" fmla="*/ 26109 w 49118"/>
                <a:gd name="connsiteY6" fmla="*/ 78524 h 86040"/>
                <a:gd name="connsiteX7" fmla="*/ 5657 w 49118"/>
                <a:gd name="connsiteY7" fmla="*/ 83273 h 86040"/>
                <a:gd name="connsiteX8" fmla="*/ 3100 w 49118"/>
                <a:gd name="connsiteY8" fmla="*/ 59898 h 86040"/>
                <a:gd name="connsiteX9" fmla="*/ 3100 w 49118"/>
                <a:gd name="connsiteY9" fmla="*/ 59898 h 8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118" h="86040">
                  <a:moveTo>
                    <a:pt x="3100" y="59898"/>
                  </a:moveTo>
                  <a:lnTo>
                    <a:pt x="35605" y="7670"/>
                  </a:lnTo>
                  <a:cubicBezTo>
                    <a:pt x="38892" y="2191"/>
                    <a:pt x="44006" y="0"/>
                    <a:pt x="49119" y="0"/>
                  </a:cubicBezTo>
                  <a:lnTo>
                    <a:pt x="23918" y="40175"/>
                  </a:lnTo>
                  <a:cubicBezTo>
                    <a:pt x="19170" y="47845"/>
                    <a:pt x="20266" y="58437"/>
                    <a:pt x="26475" y="63915"/>
                  </a:cubicBezTo>
                  <a:cubicBezTo>
                    <a:pt x="28666" y="65741"/>
                    <a:pt x="30857" y="66472"/>
                    <a:pt x="33779" y="66472"/>
                  </a:cubicBezTo>
                  <a:lnTo>
                    <a:pt x="26109" y="78524"/>
                  </a:lnTo>
                  <a:cubicBezTo>
                    <a:pt x="21361" y="86194"/>
                    <a:pt x="12231" y="88386"/>
                    <a:pt x="5657" y="83273"/>
                  </a:cubicBezTo>
                  <a:cubicBezTo>
                    <a:pt x="-552" y="77794"/>
                    <a:pt x="-2013" y="67568"/>
                    <a:pt x="3100" y="59898"/>
                  </a:cubicBezTo>
                  <a:lnTo>
                    <a:pt x="3100" y="59898"/>
                  </a:lnTo>
                  <a:close/>
                </a:path>
              </a:pathLst>
            </a:custGeom>
            <a:solidFill>
              <a:srgbClr val="1E3341"/>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2" name="Freeform: Shape 2348">
              <a:extLst>
                <a:ext uri="{FF2B5EF4-FFF2-40B4-BE49-F238E27FC236}">
                  <a16:creationId xmlns:a16="http://schemas.microsoft.com/office/drawing/2014/main" id="{86AC0968-8093-3D20-059C-F8D24F1CE3B0}"/>
                </a:ext>
              </a:extLst>
            </p:cNvPr>
            <p:cNvSpPr/>
            <p:nvPr/>
          </p:nvSpPr>
          <p:spPr>
            <a:xfrm>
              <a:off x="8857832" y="2270794"/>
              <a:ext cx="249575" cy="191138"/>
            </a:xfrm>
            <a:custGeom>
              <a:avLst/>
              <a:gdLst>
                <a:gd name="connsiteX0" fmla="*/ 180965 w 249575"/>
                <a:gd name="connsiteY0" fmla="*/ 191138 h 191138"/>
                <a:gd name="connsiteX1" fmla="*/ 240863 w 249575"/>
                <a:gd name="connsiteY1" fmla="*/ 98370 h 191138"/>
                <a:gd name="connsiteX2" fmla="*/ 217488 w 249575"/>
                <a:gd name="connsiteY2" fmla="*/ 36646 h 191138"/>
                <a:gd name="connsiteX3" fmla="*/ 44369 w 249575"/>
                <a:gd name="connsiteY3" fmla="*/ 123 h 191138"/>
                <a:gd name="connsiteX4" fmla="*/ 907 w 249575"/>
                <a:gd name="connsiteY4" fmla="*/ 57829 h 191138"/>
                <a:gd name="connsiteX5" fmla="*/ 37430 w 249575"/>
                <a:gd name="connsiteY5" fmla="*/ 164842 h 191138"/>
                <a:gd name="connsiteX6" fmla="*/ 180600 w 249575"/>
                <a:gd name="connsiteY6" fmla="*/ 190773 h 191138"/>
                <a:gd name="connsiteX7" fmla="*/ 180965 w 249575"/>
                <a:gd name="connsiteY7" fmla="*/ 191138 h 191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575" h="191138">
                  <a:moveTo>
                    <a:pt x="180965" y="191138"/>
                  </a:moveTo>
                  <a:lnTo>
                    <a:pt x="240863" y="98370"/>
                  </a:lnTo>
                  <a:cubicBezTo>
                    <a:pt x="258759" y="70612"/>
                    <a:pt x="248168" y="42855"/>
                    <a:pt x="217488" y="36646"/>
                  </a:cubicBezTo>
                  <a:lnTo>
                    <a:pt x="44369" y="123"/>
                  </a:lnTo>
                  <a:cubicBezTo>
                    <a:pt x="25012" y="-2068"/>
                    <a:pt x="-5667" y="25324"/>
                    <a:pt x="907" y="57829"/>
                  </a:cubicBezTo>
                  <a:lnTo>
                    <a:pt x="37430" y="164842"/>
                  </a:lnTo>
                  <a:lnTo>
                    <a:pt x="180600" y="190773"/>
                  </a:lnTo>
                  <a:lnTo>
                    <a:pt x="180965" y="191138"/>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3" name="Freeform: Shape 2349">
              <a:extLst>
                <a:ext uri="{FF2B5EF4-FFF2-40B4-BE49-F238E27FC236}">
                  <a16:creationId xmlns:a16="http://schemas.microsoft.com/office/drawing/2014/main" id="{D7AFA0B1-D67D-4979-07B9-9F259EA560A9}"/>
                </a:ext>
              </a:extLst>
            </p:cNvPr>
            <p:cNvSpPr/>
            <p:nvPr/>
          </p:nvSpPr>
          <p:spPr>
            <a:xfrm>
              <a:off x="9074000" y="2307387"/>
              <a:ext cx="65437" cy="247841"/>
            </a:xfrm>
            <a:custGeom>
              <a:avLst/>
              <a:gdLst>
                <a:gd name="connsiteX0" fmla="*/ 6433 w 65437"/>
                <a:gd name="connsiteY0" fmla="*/ 9184 h 247841"/>
                <a:gd name="connsiteX1" fmla="*/ 30903 w 65437"/>
                <a:gd name="connsiteY1" fmla="*/ 241836 h 247841"/>
                <a:gd name="connsiteX2" fmla="*/ 63044 w 65437"/>
                <a:gd name="connsiteY2" fmla="*/ 241836 h 247841"/>
                <a:gd name="connsiteX3" fmla="*/ 49165 w 65437"/>
                <a:gd name="connsiteY3" fmla="*/ 57394 h 247841"/>
                <a:gd name="connsiteX4" fmla="*/ 5702 w 65437"/>
                <a:gd name="connsiteY4" fmla="*/ 9184 h 247841"/>
                <a:gd name="connsiteX5" fmla="*/ 6433 w 65437"/>
                <a:gd name="connsiteY5" fmla="*/ 9184 h 247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437" h="247841">
                  <a:moveTo>
                    <a:pt x="6433" y="9184"/>
                  </a:moveTo>
                  <a:cubicBezTo>
                    <a:pt x="-16942" y="88439"/>
                    <a:pt x="30903" y="241836"/>
                    <a:pt x="30903" y="241836"/>
                  </a:cubicBezTo>
                  <a:cubicBezTo>
                    <a:pt x="30903" y="241836"/>
                    <a:pt x="56835" y="255349"/>
                    <a:pt x="63044" y="241836"/>
                  </a:cubicBezTo>
                  <a:cubicBezTo>
                    <a:pt x="70713" y="225400"/>
                    <a:pt x="58296" y="170981"/>
                    <a:pt x="49165" y="57394"/>
                  </a:cubicBezTo>
                  <a:cubicBezTo>
                    <a:pt x="43686" y="-12730"/>
                    <a:pt x="9720" y="-4330"/>
                    <a:pt x="5702" y="9184"/>
                  </a:cubicBezTo>
                  <a:lnTo>
                    <a:pt x="6433" y="9184"/>
                  </a:lnTo>
                  <a:close/>
                </a:path>
              </a:pathLst>
            </a:custGeom>
            <a:solidFill>
              <a:srgbClr val="088AC8"/>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4" name="Freeform: Shape 2350">
              <a:extLst>
                <a:ext uri="{FF2B5EF4-FFF2-40B4-BE49-F238E27FC236}">
                  <a16:creationId xmlns:a16="http://schemas.microsoft.com/office/drawing/2014/main" id="{C80E052E-C6CD-7AC7-563C-28CC2B190D35}"/>
                </a:ext>
              </a:extLst>
            </p:cNvPr>
            <p:cNvSpPr/>
            <p:nvPr/>
          </p:nvSpPr>
          <p:spPr>
            <a:xfrm>
              <a:off x="8767066" y="2272297"/>
              <a:ext cx="127489" cy="193056"/>
            </a:xfrm>
            <a:custGeom>
              <a:avLst/>
              <a:gdLst>
                <a:gd name="connsiteX0" fmla="*/ 103360 w 127489"/>
                <a:gd name="connsiteY0" fmla="*/ 1908 h 193056"/>
                <a:gd name="connsiteX1" fmla="*/ 0 w 127489"/>
                <a:gd name="connsiteY1" fmla="*/ 182697 h 193056"/>
                <a:gd name="connsiteX2" fmla="*/ 20453 w 127489"/>
                <a:gd name="connsiteY2" fmla="*/ 191827 h 193056"/>
                <a:gd name="connsiteX3" fmla="*/ 113221 w 127489"/>
                <a:gd name="connsiteY3" fmla="*/ 61075 h 193056"/>
                <a:gd name="connsiteX4" fmla="*/ 103360 w 127489"/>
                <a:gd name="connsiteY4" fmla="*/ 1908 h 19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89" h="193056">
                  <a:moveTo>
                    <a:pt x="103360" y="1908"/>
                  </a:moveTo>
                  <a:cubicBezTo>
                    <a:pt x="42001" y="45735"/>
                    <a:pt x="0" y="182697"/>
                    <a:pt x="0" y="182697"/>
                  </a:cubicBezTo>
                  <a:cubicBezTo>
                    <a:pt x="0" y="182697"/>
                    <a:pt x="8400" y="197306"/>
                    <a:pt x="20453" y="191827"/>
                  </a:cubicBezTo>
                  <a:cubicBezTo>
                    <a:pt x="35793" y="184158"/>
                    <a:pt x="59898" y="147635"/>
                    <a:pt x="113221" y="61075"/>
                  </a:cubicBezTo>
                  <a:cubicBezTo>
                    <a:pt x="146092" y="7021"/>
                    <a:pt x="113221" y="-5397"/>
                    <a:pt x="103360" y="1908"/>
                  </a:cubicBezTo>
                  <a:close/>
                </a:path>
              </a:pathLst>
            </a:custGeom>
            <a:solidFill>
              <a:srgbClr val="088AC8"/>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5" name="Freeform: Shape 2351">
              <a:extLst>
                <a:ext uri="{FF2B5EF4-FFF2-40B4-BE49-F238E27FC236}">
                  <a16:creationId xmlns:a16="http://schemas.microsoft.com/office/drawing/2014/main" id="{C1C51E63-B60D-3BD2-8D72-6329257740D6}"/>
                </a:ext>
              </a:extLst>
            </p:cNvPr>
            <p:cNvSpPr/>
            <p:nvPr/>
          </p:nvSpPr>
          <p:spPr>
            <a:xfrm>
              <a:off x="8913840" y="2417375"/>
              <a:ext cx="153079" cy="121621"/>
            </a:xfrm>
            <a:custGeom>
              <a:avLst/>
              <a:gdLst>
                <a:gd name="connsiteX0" fmla="*/ 6988 w 153079"/>
                <a:gd name="connsiteY0" fmla="*/ 84733 h 121621"/>
                <a:gd name="connsiteX1" fmla="*/ 29267 w 153079"/>
                <a:gd name="connsiteY1" fmla="*/ 116874 h 121621"/>
                <a:gd name="connsiteX2" fmla="*/ 129705 w 153079"/>
                <a:gd name="connsiteY2" fmla="*/ 121622 h 121621"/>
                <a:gd name="connsiteX3" fmla="*/ 153080 w 153079"/>
                <a:gd name="connsiteY3" fmla="*/ 91673 h 121621"/>
                <a:gd name="connsiteX4" fmla="*/ 152349 w 153079"/>
                <a:gd name="connsiteY4" fmla="*/ 50037 h 121621"/>
                <a:gd name="connsiteX5" fmla="*/ 134818 w 153079"/>
                <a:gd name="connsiteY5" fmla="*/ 28123 h 121621"/>
                <a:gd name="connsiteX6" fmla="*/ 16484 w 153079"/>
                <a:gd name="connsiteY6" fmla="*/ 0 h 121621"/>
                <a:gd name="connsiteX7" fmla="*/ 48 w 153079"/>
                <a:gd name="connsiteY7" fmla="*/ 23010 h 121621"/>
                <a:gd name="connsiteX8" fmla="*/ 7718 w 153079"/>
                <a:gd name="connsiteY8" fmla="*/ 84733 h 121621"/>
                <a:gd name="connsiteX9" fmla="*/ 6988 w 153079"/>
                <a:gd name="connsiteY9" fmla="*/ 84733 h 121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079" h="121621">
                  <a:moveTo>
                    <a:pt x="6988" y="84733"/>
                  </a:moveTo>
                  <a:cubicBezTo>
                    <a:pt x="6988" y="97151"/>
                    <a:pt x="20136" y="116874"/>
                    <a:pt x="29267" y="116874"/>
                  </a:cubicBezTo>
                  <a:lnTo>
                    <a:pt x="129705" y="121622"/>
                  </a:lnTo>
                  <a:cubicBezTo>
                    <a:pt x="139201" y="121622"/>
                    <a:pt x="153080" y="104091"/>
                    <a:pt x="153080" y="91673"/>
                  </a:cubicBezTo>
                  <a:lnTo>
                    <a:pt x="152349" y="50037"/>
                  </a:lnTo>
                  <a:cubicBezTo>
                    <a:pt x="152349" y="37619"/>
                    <a:pt x="144314" y="27758"/>
                    <a:pt x="134818" y="28123"/>
                  </a:cubicBezTo>
                  <a:lnTo>
                    <a:pt x="16484" y="0"/>
                  </a:lnTo>
                  <a:cubicBezTo>
                    <a:pt x="6988" y="0"/>
                    <a:pt x="-682" y="10226"/>
                    <a:pt x="48" y="23010"/>
                  </a:cubicBezTo>
                  <a:lnTo>
                    <a:pt x="7718" y="84733"/>
                  </a:lnTo>
                  <a:lnTo>
                    <a:pt x="6988" y="84733"/>
                  </a:lnTo>
                  <a:close/>
                </a:path>
              </a:pathLst>
            </a:custGeom>
            <a:solidFill>
              <a:srgbClr val="FFFF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6" name="Freeform: Shape 2352">
              <a:extLst>
                <a:ext uri="{FF2B5EF4-FFF2-40B4-BE49-F238E27FC236}">
                  <a16:creationId xmlns:a16="http://schemas.microsoft.com/office/drawing/2014/main" id="{C806E4B0-BC07-C0FB-2531-45E00FD32C06}"/>
                </a:ext>
              </a:extLst>
            </p:cNvPr>
            <p:cNvSpPr/>
            <p:nvPr/>
          </p:nvSpPr>
          <p:spPr>
            <a:xfrm>
              <a:off x="8929593" y="2526172"/>
              <a:ext cx="119430" cy="16882"/>
            </a:xfrm>
            <a:custGeom>
              <a:avLst/>
              <a:gdLst>
                <a:gd name="connsiteX0" fmla="*/ 119430 w 119430"/>
                <a:gd name="connsiteY0" fmla="*/ 15015 h 16882"/>
                <a:gd name="connsiteX1" fmla="*/ 104821 w 119430"/>
                <a:gd name="connsiteY1" fmla="*/ 16842 h 16882"/>
                <a:gd name="connsiteX2" fmla="*/ 14244 w 119430"/>
                <a:gd name="connsiteY2" fmla="*/ 10998 h 16882"/>
                <a:gd name="connsiteX3" fmla="*/ 0 w 119430"/>
                <a:gd name="connsiteY3" fmla="*/ 7346 h 16882"/>
                <a:gd name="connsiteX4" fmla="*/ 0 w 119430"/>
                <a:gd name="connsiteY4" fmla="*/ 1867 h 16882"/>
                <a:gd name="connsiteX5" fmla="*/ 14609 w 119430"/>
                <a:gd name="connsiteY5" fmla="*/ 41 h 16882"/>
                <a:gd name="connsiteX6" fmla="*/ 105186 w 119430"/>
                <a:gd name="connsiteY6" fmla="*/ 5885 h 16882"/>
                <a:gd name="connsiteX7" fmla="*/ 119430 w 119430"/>
                <a:gd name="connsiteY7" fmla="*/ 9537 h 16882"/>
                <a:gd name="connsiteX8" fmla="*/ 119430 w 119430"/>
                <a:gd name="connsiteY8" fmla="*/ 15015 h 16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430" h="16882">
                  <a:moveTo>
                    <a:pt x="119430" y="15015"/>
                  </a:moveTo>
                  <a:cubicBezTo>
                    <a:pt x="119430" y="15015"/>
                    <a:pt x="112856" y="17207"/>
                    <a:pt x="104821" y="16842"/>
                  </a:cubicBezTo>
                  <a:lnTo>
                    <a:pt x="14244" y="10998"/>
                  </a:lnTo>
                  <a:cubicBezTo>
                    <a:pt x="6209" y="10633"/>
                    <a:pt x="0" y="9172"/>
                    <a:pt x="0" y="7346"/>
                  </a:cubicBezTo>
                  <a:lnTo>
                    <a:pt x="0" y="1867"/>
                  </a:lnTo>
                  <a:cubicBezTo>
                    <a:pt x="0" y="1867"/>
                    <a:pt x="7305" y="-324"/>
                    <a:pt x="14609" y="41"/>
                  </a:cubicBezTo>
                  <a:lnTo>
                    <a:pt x="105186" y="5885"/>
                  </a:lnTo>
                  <a:cubicBezTo>
                    <a:pt x="113221" y="6250"/>
                    <a:pt x="119430" y="7711"/>
                    <a:pt x="119430" y="9537"/>
                  </a:cubicBezTo>
                  <a:lnTo>
                    <a:pt x="119430" y="15015"/>
                  </a:lnTo>
                  <a:close/>
                </a:path>
              </a:pathLst>
            </a:custGeom>
            <a:solidFill>
              <a:srgbClr val="171210"/>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7" name="Freeform: Shape 2353">
              <a:extLst>
                <a:ext uri="{FF2B5EF4-FFF2-40B4-BE49-F238E27FC236}">
                  <a16:creationId xmlns:a16="http://schemas.microsoft.com/office/drawing/2014/main" id="{2C114A70-B8C1-9338-51BA-B870F1CD7721}"/>
                </a:ext>
              </a:extLst>
            </p:cNvPr>
            <p:cNvSpPr/>
            <p:nvPr/>
          </p:nvSpPr>
          <p:spPr>
            <a:xfrm>
              <a:off x="8865995" y="2301597"/>
              <a:ext cx="217040" cy="166960"/>
            </a:xfrm>
            <a:custGeom>
              <a:avLst/>
              <a:gdLst>
                <a:gd name="connsiteX0" fmla="*/ 22692 w 217040"/>
                <a:gd name="connsiteY0" fmla="*/ 16435 h 166960"/>
                <a:gd name="connsiteX1" fmla="*/ 28901 w 217040"/>
                <a:gd name="connsiteY1" fmla="*/ 0 h 166960"/>
                <a:gd name="connsiteX2" fmla="*/ 215534 w 217040"/>
                <a:gd name="connsiteY2" fmla="*/ 24105 h 166960"/>
                <a:gd name="connsiteX3" fmla="*/ 216264 w 217040"/>
                <a:gd name="connsiteY3" fmla="*/ 32140 h 166960"/>
                <a:gd name="connsiteX4" fmla="*/ 216995 w 217040"/>
                <a:gd name="connsiteY4" fmla="*/ 121256 h 166960"/>
                <a:gd name="connsiteX5" fmla="*/ 169149 w 217040"/>
                <a:gd name="connsiteY5" fmla="*/ 166180 h 166960"/>
                <a:gd name="connsiteX6" fmla="*/ 38762 w 217040"/>
                <a:gd name="connsiteY6" fmla="*/ 149744 h 166960"/>
                <a:gd name="connsiteX7" fmla="*/ 778 w 217040"/>
                <a:gd name="connsiteY7" fmla="*/ 98612 h 166960"/>
                <a:gd name="connsiteX8" fmla="*/ 22327 w 217040"/>
                <a:gd name="connsiteY8" fmla="*/ 16070 h 166960"/>
                <a:gd name="connsiteX9" fmla="*/ 22327 w 217040"/>
                <a:gd name="connsiteY9" fmla="*/ 16435 h 166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40" h="166960">
                  <a:moveTo>
                    <a:pt x="22692" y="16435"/>
                  </a:moveTo>
                  <a:cubicBezTo>
                    <a:pt x="24518" y="10226"/>
                    <a:pt x="26710" y="4748"/>
                    <a:pt x="28901" y="0"/>
                  </a:cubicBezTo>
                  <a:cubicBezTo>
                    <a:pt x="112904" y="59533"/>
                    <a:pt x="172436" y="34332"/>
                    <a:pt x="215534" y="24105"/>
                  </a:cubicBezTo>
                  <a:cubicBezTo>
                    <a:pt x="215534" y="26662"/>
                    <a:pt x="216264" y="29584"/>
                    <a:pt x="216264" y="32140"/>
                  </a:cubicBezTo>
                  <a:cubicBezTo>
                    <a:pt x="218090" y="61724"/>
                    <a:pt x="215899" y="91673"/>
                    <a:pt x="216995" y="121256"/>
                  </a:cubicBezTo>
                  <a:cubicBezTo>
                    <a:pt x="218455" y="144996"/>
                    <a:pt x="184854" y="165449"/>
                    <a:pt x="169149" y="166180"/>
                  </a:cubicBezTo>
                  <a:cubicBezTo>
                    <a:pt x="109617" y="168736"/>
                    <a:pt x="96103" y="165449"/>
                    <a:pt x="38762" y="149744"/>
                  </a:cubicBezTo>
                  <a:cubicBezTo>
                    <a:pt x="23422" y="145727"/>
                    <a:pt x="-5065" y="120526"/>
                    <a:pt x="778" y="98612"/>
                  </a:cubicBezTo>
                  <a:cubicBezTo>
                    <a:pt x="8083" y="71220"/>
                    <a:pt x="15022" y="43462"/>
                    <a:pt x="22327" y="16070"/>
                  </a:cubicBezTo>
                  <a:lnTo>
                    <a:pt x="22327" y="16435"/>
                  </a:lnTo>
                  <a:close/>
                </a:path>
              </a:pathLst>
            </a:custGeom>
            <a:solidFill>
              <a:srgbClr val="FFFF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8" name="Freeform: Shape 2354">
              <a:extLst>
                <a:ext uri="{FF2B5EF4-FFF2-40B4-BE49-F238E27FC236}">
                  <a16:creationId xmlns:a16="http://schemas.microsoft.com/office/drawing/2014/main" id="{8B2E73AF-F8A1-60BF-38E9-735C35EDB178}"/>
                </a:ext>
              </a:extLst>
            </p:cNvPr>
            <p:cNvSpPr/>
            <p:nvPr/>
          </p:nvSpPr>
          <p:spPr>
            <a:xfrm>
              <a:off x="9033008" y="2294657"/>
              <a:ext cx="79888" cy="239271"/>
            </a:xfrm>
            <a:custGeom>
              <a:avLst/>
              <a:gdLst>
                <a:gd name="connsiteX0" fmla="*/ 4328 w 79888"/>
                <a:gd name="connsiteY0" fmla="*/ 365 h 239271"/>
                <a:gd name="connsiteX1" fmla="*/ 77374 w 79888"/>
                <a:gd name="connsiteY1" fmla="*/ 28123 h 239271"/>
                <a:gd name="connsiteX2" fmla="*/ 61669 w 79888"/>
                <a:gd name="connsiteY2" fmla="*/ 101169 h 239271"/>
                <a:gd name="connsiteX3" fmla="*/ 41581 w 79888"/>
                <a:gd name="connsiteY3" fmla="*/ 186267 h 239271"/>
                <a:gd name="connsiteX4" fmla="*/ 50712 w 79888"/>
                <a:gd name="connsiteY4" fmla="*/ 238495 h 239271"/>
                <a:gd name="connsiteX5" fmla="*/ 13093 w 79888"/>
                <a:gd name="connsiteY5" fmla="*/ 228269 h 239271"/>
                <a:gd name="connsiteX6" fmla="*/ 5423 w 79888"/>
                <a:gd name="connsiteY6" fmla="*/ 163988 h 239271"/>
                <a:gd name="connsiteX7" fmla="*/ 16015 w 79888"/>
                <a:gd name="connsiteY7" fmla="*/ 75237 h 239271"/>
                <a:gd name="connsiteX8" fmla="*/ 4328 w 79888"/>
                <a:gd name="connsiteY8" fmla="*/ 0 h 239271"/>
                <a:gd name="connsiteX9" fmla="*/ 4328 w 79888"/>
                <a:gd name="connsiteY9" fmla="*/ 365 h 239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888" h="239271">
                  <a:moveTo>
                    <a:pt x="4328" y="365"/>
                  </a:moveTo>
                  <a:cubicBezTo>
                    <a:pt x="4328" y="365"/>
                    <a:pt x="66417" y="-1461"/>
                    <a:pt x="77374" y="28123"/>
                  </a:cubicBezTo>
                  <a:cubicBezTo>
                    <a:pt x="87965" y="58072"/>
                    <a:pt x="61669" y="101169"/>
                    <a:pt x="61669" y="101169"/>
                  </a:cubicBezTo>
                  <a:cubicBezTo>
                    <a:pt x="61669" y="101169"/>
                    <a:pt x="45964" y="156319"/>
                    <a:pt x="41581" y="186267"/>
                  </a:cubicBezTo>
                  <a:cubicBezTo>
                    <a:pt x="37198" y="216216"/>
                    <a:pt x="56190" y="244339"/>
                    <a:pt x="50712" y="238495"/>
                  </a:cubicBezTo>
                  <a:cubicBezTo>
                    <a:pt x="49251" y="237034"/>
                    <a:pt x="35372" y="238495"/>
                    <a:pt x="13093" y="228269"/>
                  </a:cubicBezTo>
                  <a:cubicBezTo>
                    <a:pt x="-9186" y="218042"/>
                    <a:pt x="3232" y="176771"/>
                    <a:pt x="5423" y="163988"/>
                  </a:cubicBezTo>
                  <a:cubicBezTo>
                    <a:pt x="7615" y="150840"/>
                    <a:pt x="18572" y="86194"/>
                    <a:pt x="16015" y="75237"/>
                  </a:cubicBezTo>
                  <a:cubicBezTo>
                    <a:pt x="13458" y="64646"/>
                    <a:pt x="4328" y="0"/>
                    <a:pt x="4328" y="0"/>
                  </a:cubicBezTo>
                  <a:lnTo>
                    <a:pt x="4328" y="365"/>
                  </a:lnTo>
                  <a:close/>
                </a:path>
              </a:pathLst>
            </a:custGeom>
            <a:solidFill>
              <a:schemeClr val="accent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9" name="Freeform: Shape 2355">
              <a:extLst>
                <a:ext uri="{FF2B5EF4-FFF2-40B4-BE49-F238E27FC236}">
                  <a16:creationId xmlns:a16="http://schemas.microsoft.com/office/drawing/2014/main" id="{454EE3D1-BFC8-4A87-3DD1-BCD791418AEA}"/>
                </a:ext>
              </a:extLst>
            </p:cNvPr>
            <p:cNvSpPr/>
            <p:nvPr/>
          </p:nvSpPr>
          <p:spPr>
            <a:xfrm>
              <a:off x="8855812" y="2267508"/>
              <a:ext cx="89486" cy="254260"/>
            </a:xfrm>
            <a:custGeom>
              <a:avLst/>
              <a:gdLst>
                <a:gd name="connsiteX0" fmla="*/ 1101 w 89486"/>
                <a:gd name="connsiteY0" fmla="*/ 46506 h 254260"/>
                <a:gd name="connsiteX1" fmla="*/ 6579 w 89486"/>
                <a:gd name="connsiteY1" fmla="*/ 11444 h 254260"/>
                <a:gd name="connsiteX2" fmla="*/ 69764 w 89486"/>
                <a:gd name="connsiteY2" fmla="*/ 2313 h 254260"/>
                <a:gd name="connsiteX3" fmla="*/ 89486 w 89486"/>
                <a:gd name="connsiteY3" fmla="*/ 9618 h 254260"/>
                <a:gd name="connsiteX4" fmla="*/ 49676 w 89486"/>
                <a:gd name="connsiteY4" fmla="*/ 111517 h 254260"/>
                <a:gd name="connsiteX5" fmla="*/ 58807 w 89486"/>
                <a:gd name="connsiteY5" fmla="*/ 178354 h 254260"/>
                <a:gd name="connsiteX6" fmla="*/ 65381 w 89486"/>
                <a:gd name="connsiteY6" fmla="*/ 245556 h 254260"/>
                <a:gd name="connsiteX7" fmla="*/ 39815 w 89486"/>
                <a:gd name="connsiteY7" fmla="*/ 253957 h 254260"/>
                <a:gd name="connsiteX8" fmla="*/ 20458 w 89486"/>
                <a:gd name="connsiteY8" fmla="*/ 199172 h 254260"/>
                <a:gd name="connsiteX9" fmla="*/ 1101 w 89486"/>
                <a:gd name="connsiteY9" fmla="*/ 46506 h 25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486" h="254260">
                  <a:moveTo>
                    <a:pt x="1101" y="46506"/>
                  </a:moveTo>
                  <a:cubicBezTo>
                    <a:pt x="1101" y="46506"/>
                    <a:pt x="-3647" y="21305"/>
                    <a:pt x="6579" y="11444"/>
                  </a:cubicBezTo>
                  <a:cubicBezTo>
                    <a:pt x="21919" y="-2800"/>
                    <a:pt x="58077" y="-974"/>
                    <a:pt x="69764" y="2313"/>
                  </a:cubicBezTo>
                  <a:cubicBezTo>
                    <a:pt x="81451" y="5966"/>
                    <a:pt x="89486" y="9618"/>
                    <a:pt x="89486" y="9618"/>
                  </a:cubicBezTo>
                  <a:cubicBezTo>
                    <a:pt x="89486" y="9618"/>
                    <a:pt x="48215" y="26053"/>
                    <a:pt x="49676" y="111517"/>
                  </a:cubicBezTo>
                  <a:cubicBezTo>
                    <a:pt x="49676" y="126126"/>
                    <a:pt x="53694" y="155710"/>
                    <a:pt x="58807" y="178354"/>
                  </a:cubicBezTo>
                  <a:cubicBezTo>
                    <a:pt x="63555" y="201364"/>
                    <a:pt x="65381" y="245556"/>
                    <a:pt x="65381" y="245556"/>
                  </a:cubicBezTo>
                  <a:cubicBezTo>
                    <a:pt x="65381" y="245556"/>
                    <a:pt x="40911" y="250304"/>
                    <a:pt x="39815" y="253957"/>
                  </a:cubicBezTo>
                  <a:cubicBezTo>
                    <a:pt x="38354" y="257609"/>
                    <a:pt x="37258" y="227660"/>
                    <a:pt x="20458" y="199172"/>
                  </a:cubicBezTo>
                  <a:cubicBezTo>
                    <a:pt x="3657" y="170684"/>
                    <a:pt x="1101" y="46506"/>
                    <a:pt x="1101" y="46506"/>
                  </a:cubicBezTo>
                  <a:close/>
                </a:path>
              </a:pathLst>
            </a:custGeom>
            <a:solidFill>
              <a:schemeClr val="accent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0" name="Freeform: Shape 2356">
              <a:extLst>
                <a:ext uri="{FF2B5EF4-FFF2-40B4-BE49-F238E27FC236}">
                  <a16:creationId xmlns:a16="http://schemas.microsoft.com/office/drawing/2014/main" id="{73BBDA72-A508-2674-13CD-56B3BC048303}"/>
                </a:ext>
              </a:extLst>
            </p:cNvPr>
            <p:cNvSpPr/>
            <p:nvPr/>
          </p:nvSpPr>
          <p:spPr>
            <a:xfrm>
              <a:off x="8856177" y="2267353"/>
              <a:ext cx="55520" cy="208093"/>
            </a:xfrm>
            <a:custGeom>
              <a:avLst/>
              <a:gdLst>
                <a:gd name="connsiteX0" fmla="*/ 54790 w 55520"/>
                <a:gd name="connsiteY0" fmla="*/ 643 h 208093"/>
                <a:gd name="connsiteX1" fmla="*/ 21554 w 55520"/>
                <a:gd name="connsiteY1" fmla="*/ 135048 h 208093"/>
                <a:gd name="connsiteX2" fmla="*/ 24841 w 55520"/>
                <a:gd name="connsiteY2" fmla="*/ 208094 h 208093"/>
                <a:gd name="connsiteX3" fmla="*/ 20458 w 55520"/>
                <a:gd name="connsiteY3" fmla="*/ 199693 h 208093"/>
                <a:gd name="connsiteX4" fmla="*/ 1101 w 55520"/>
                <a:gd name="connsiteY4" fmla="*/ 46662 h 208093"/>
                <a:gd name="connsiteX5" fmla="*/ 6579 w 55520"/>
                <a:gd name="connsiteY5" fmla="*/ 11600 h 208093"/>
                <a:gd name="connsiteX6" fmla="*/ 55520 w 55520"/>
                <a:gd name="connsiteY6" fmla="*/ 278 h 208093"/>
                <a:gd name="connsiteX7" fmla="*/ 54790 w 55520"/>
                <a:gd name="connsiteY7" fmla="*/ 643 h 208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520" h="208093">
                  <a:moveTo>
                    <a:pt x="54790" y="643"/>
                  </a:moveTo>
                  <a:cubicBezTo>
                    <a:pt x="31780" y="20000"/>
                    <a:pt x="18267" y="36070"/>
                    <a:pt x="21554" y="135048"/>
                  </a:cubicBezTo>
                  <a:cubicBezTo>
                    <a:pt x="21919" y="151118"/>
                    <a:pt x="21554" y="180701"/>
                    <a:pt x="24841" y="208094"/>
                  </a:cubicBezTo>
                  <a:cubicBezTo>
                    <a:pt x="23380" y="205537"/>
                    <a:pt x="22284" y="202250"/>
                    <a:pt x="20458" y="199693"/>
                  </a:cubicBezTo>
                  <a:cubicBezTo>
                    <a:pt x="4023" y="171205"/>
                    <a:pt x="1101" y="46662"/>
                    <a:pt x="1101" y="46662"/>
                  </a:cubicBezTo>
                  <a:cubicBezTo>
                    <a:pt x="1101" y="46662"/>
                    <a:pt x="-3647" y="21461"/>
                    <a:pt x="6579" y="11600"/>
                  </a:cubicBezTo>
                  <a:cubicBezTo>
                    <a:pt x="17171" y="1008"/>
                    <a:pt x="39815" y="-818"/>
                    <a:pt x="55520" y="278"/>
                  </a:cubicBezTo>
                  <a:lnTo>
                    <a:pt x="54790" y="643"/>
                  </a:lnTo>
                  <a:close/>
                </a:path>
              </a:pathLst>
            </a:custGeom>
            <a:solidFill>
              <a:srgbClr val="088AC8"/>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1" name="Freeform: Shape 2357">
              <a:extLst>
                <a:ext uri="{FF2B5EF4-FFF2-40B4-BE49-F238E27FC236}">
                  <a16:creationId xmlns:a16="http://schemas.microsoft.com/office/drawing/2014/main" id="{E1B45833-C636-F252-1F73-72ED058D834B}"/>
                </a:ext>
              </a:extLst>
            </p:cNvPr>
            <p:cNvSpPr/>
            <p:nvPr/>
          </p:nvSpPr>
          <p:spPr>
            <a:xfrm>
              <a:off x="9118175" y="2726725"/>
              <a:ext cx="107985" cy="77428"/>
            </a:xfrm>
            <a:custGeom>
              <a:avLst/>
              <a:gdLst>
                <a:gd name="connsiteX0" fmla="*/ 65984 w 107985"/>
                <a:gd name="connsiteY0" fmla="*/ 0 h 77428"/>
                <a:gd name="connsiteX1" fmla="*/ 107985 w 107985"/>
                <a:gd name="connsiteY1" fmla="*/ 28488 h 77428"/>
                <a:gd name="connsiteX2" fmla="*/ 47722 w 107985"/>
                <a:gd name="connsiteY2" fmla="*/ 77429 h 77428"/>
                <a:gd name="connsiteX3" fmla="*/ 2434 w 107985"/>
                <a:gd name="connsiteY3" fmla="*/ 13513 h 77428"/>
                <a:gd name="connsiteX4" fmla="*/ 66349 w 107985"/>
                <a:gd name="connsiteY4" fmla="*/ 0 h 77428"/>
                <a:gd name="connsiteX5" fmla="*/ 65984 w 107985"/>
                <a:gd name="connsiteY5" fmla="*/ 0 h 77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985" h="77428">
                  <a:moveTo>
                    <a:pt x="65984" y="0"/>
                  </a:moveTo>
                  <a:cubicBezTo>
                    <a:pt x="81323" y="8400"/>
                    <a:pt x="95568" y="17896"/>
                    <a:pt x="107985" y="28488"/>
                  </a:cubicBezTo>
                  <a:cubicBezTo>
                    <a:pt x="84976" y="39810"/>
                    <a:pt x="74019" y="66837"/>
                    <a:pt x="47722" y="77429"/>
                  </a:cubicBezTo>
                  <a:cubicBezTo>
                    <a:pt x="30557" y="67933"/>
                    <a:pt x="-10349" y="10592"/>
                    <a:pt x="2434" y="13513"/>
                  </a:cubicBezTo>
                  <a:cubicBezTo>
                    <a:pt x="41879" y="22644"/>
                    <a:pt x="38226" y="9496"/>
                    <a:pt x="66349" y="0"/>
                  </a:cubicBezTo>
                  <a:lnTo>
                    <a:pt x="65984" y="0"/>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2" name="Freeform: Shape 2358">
              <a:extLst>
                <a:ext uri="{FF2B5EF4-FFF2-40B4-BE49-F238E27FC236}">
                  <a16:creationId xmlns:a16="http://schemas.microsoft.com/office/drawing/2014/main" id="{4AD3A573-C874-FAF4-CCCE-E898C5A3A46B}"/>
                </a:ext>
              </a:extLst>
            </p:cNvPr>
            <p:cNvSpPr/>
            <p:nvPr/>
          </p:nvSpPr>
          <p:spPr>
            <a:xfrm>
              <a:off x="9061071" y="2736516"/>
              <a:ext cx="90216" cy="108305"/>
            </a:xfrm>
            <a:custGeom>
              <a:avLst/>
              <a:gdLst>
                <a:gd name="connsiteX0" fmla="*/ 48946 w 90216"/>
                <a:gd name="connsiteY0" fmla="*/ 69 h 108305"/>
                <a:gd name="connsiteX1" fmla="*/ 90217 w 90216"/>
                <a:gd name="connsiteY1" fmla="*/ 17601 h 108305"/>
                <a:gd name="connsiteX2" fmla="*/ 29954 w 90216"/>
                <a:gd name="connsiteY2" fmla="*/ 66541 h 108305"/>
                <a:gd name="connsiteX3" fmla="*/ 5 w 90216"/>
                <a:gd name="connsiteY3" fmla="*/ 105621 h 108305"/>
                <a:gd name="connsiteX4" fmla="*/ 48946 w 90216"/>
                <a:gd name="connsiteY4" fmla="*/ 69 h 10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16" h="108305">
                  <a:moveTo>
                    <a:pt x="48946" y="69"/>
                  </a:moveTo>
                  <a:cubicBezTo>
                    <a:pt x="66477" y="1896"/>
                    <a:pt x="77434" y="6644"/>
                    <a:pt x="90217" y="17601"/>
                  </a:cubicBezTo>
                  <a:cubicBezTo>
                    <a:pt x="67207" y="28923"/>
                    <a:pt x="56250" y="55950"/>
                    <a:pt x="29954" y="66541"/>
                  </a:cubicBezTo>
                  <a:cubicBezTo>
                    <a:pt x="10231" y="80055"/>
                    <a:pt x="5" y="118769"/>
                    <a:pt x="5" y="105621"/>
                  </a:cubicBezTo>
                  <a:cubicBezTo>
                    <a:pt x="-360" y="87359"/>
                    <a:pt x="19727" y="-2852"/>
                    <a:pt x="48946" y="69"/>
                  </a:cubicBez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3" name="Freeform: Shape 2359">
              <a:extLst>
                <a:ext uri="{FF2B5EF4-FFF2-40B4-BE49-F238E27FC236}">
                  <a16:creationId xmlns:a16="http://schemas.microsoft.com/office/drawing/2014/main" id="{84A77DF3-A869-BFDF-7314-491602858B5E}"/>
                </a:ext>
              </a:extLst>
            </p:cNvPr>
            <p:cNvSpPr/>
            <p:nvPr/>
          </p:nvSpPr>
          <p:spPr>
            <a:xfrm>
              <a:off x="8929406" y="2749261"/>
              <a:ext cx="228942" cy="472012"/>
            </a:xfrm>
            <a:custGeom>
              <a:avLst/>
              <a:gdLst>
                <a:gd name="connsiteX0" fmla="*/ 216769 w 228942"/>
                <a:gd name="connsiteY0" fmla="*/ 71693 h 472012"/>
                <a:gd name="connsiteX1" fmla="*/ 228822 w 228942"/>
                <a:gd name="connsiteY1" fmla="*/ 38457 h 472012"/>
                <a:gd name="connsiteX2" fmla="*/ 220786 w 228942"/>
                <a:gd name="connsiteY2" fmla="*/ 1934 h 472012"/>
                <a:gd name="connsiteX3" fmla="*/ 63372 w 228942"/>
                <a:gd name="connsiteY3" fmla="*/ 276222 h 472012"/>
                <a:gd name="connsiteX4" fmla="*/ 19545 w 228942"/>
                <a:gd name="connsiteY4" fmla="*/ 398574 h 472012"/>
                <a:gd name="connsiteX5" fmla="*/ 5666 w 228942"/>
                <a:gd name="connsiteY5" fmla="*/ 415010 h 472012"/>
                <a:gd name="connsiteX6" fmla="*/ 2014 w 228942"/>
                <a:gd name="connsiteY6" fmla="*/ 471985 h 472012"/>
                <a:gd name="connsiteX7" fmla="*/ 216769 w 228942"/>
                <a:gd name="connsiteY7" fmla="*/ 71328 h 472012"/>
                <a:gd name="connsiteX8" fmla="*/ 216769 w 228942"/>
                <a:gd name="connsiteY8" fmla="*/ 71693 h 472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942" h="472012">
                  <a:moveTo>
                    <a:pt x="216769" y="71693"/>
                  </a:moveTo>
                  <a:cubicBezTo>
                    <a:pt x="220786" y="60371"/>
                    <a:pt x="225169" y="49414"/>
                    <a:pt x="228822" y="38457"/>
                  </a:cubicBezTo>
                  <a:cubicBezTo>
                    <a:pt x="229552" y="18370"/>
                    <a:pt x="226995" y="5952"/>
                    <a:pt x="220786" y="1934"/>
                  </a:cubicBezTo>
                  <a:cubicBezTo>
                    <a:pt x="196681" y="-11944"/>
                    <a:pt x="123270" y="45762"/>
                    <a:pt x="63372" y="276222"/>
                  </a:cubicBezTo>
                  <a:cubicBezTo>
                    <a:pt x="61546" y="282796"/>
                    <a:pt x="45111" y="347442"/>
                    <a:pt x="19545" y="398574"/>
                  </a:cubicBezTo>
                  <a:cubicBezTo>
                    <a:pt x="14797" y="408801"/>
                    <a:pt x="8222" y="406609"/>
                    <a:pt x="5666" y="415010"/>
                  </a:cubicBezTo>
                  <a:cubicBezTo>
                    <a:pt x="-3465" y="440941"/>
                    <a:pt x="918" y="473081"/>
                    <a:pt x="2014" y="471985"/>
                  </a:cubicBezTo>
                  <a:cubicBezTo>
                    <a:pt x="44015" y="433636"/>
                    <a:pt x="154315" y="237142"/>
                    <a:pt x="216769" y="71328"/>
                  </a:cubicBezTo>
                  <a:lnTo>
                    <a:pt x="216769" y="71693"/>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4" name="Freeform: Shape 2360">
              <a:extLst>
                <a:ext uri="{FF2B5EF4-FFF2-40B4-BE49-F238E27FC236}">
                  <a16:creationId xmlns:a16="http://schemas.microsoft.com/office/drawing/2014/main" id="{2CF78655-775E-2322-8737-34F2D2576706}"/>
                </a:ext>
              </a:extLst>
            </p:cNvPr>
            <p:cNvSpPr/>
            <p:nvPr/>
          </p:nvSpPr>
          <p:spPr>
            <a:xfrm>
              <a:off x="8911446" y="3138704"/>
              <a:ext cx="43713" cy="89008"/>
            </a:xfrm>
            <a:custGeom>
              <a:avLst/>
              <a:gdLst>
                <a:gd name="connsiteX0" fmla="*/ 2807 w 43713"/>
                <a:gd name="connsiteY0" fmla="*/ 63550 h 89008"/>
                <a:gd name="connsiteX1" fmla="*/ 31295 w 43713"/>
                <a:gd name="connsiteY1" fmla="*/ 8400 h 89008"/>
                <a:gd name="connsiteX2" fmla="*/ 43713 w 43713"/>
                <a:gd name="connsiteY2" fmla="*/ 0 h 89008"/>
                <a:gd name="connsiteX3" fmla="*/ 21799 w 43713"/>
                <a:gd name="connsiteY3" fmla="*/ 42367 h 89008"/>
                <a:gd name="connsiteX4" fmla="*/ 26182 w 43713"/>
                <a:gd name="connsiteY4" fmla="*/ 65741 h 89008"/>
                <a:gd name="connsiteX5" fmla="*/ 33487 w 43713"/>
                <a:gd name="connsiteY5" fmla="*/ 67933 h 89008"/>
                <a:gd name="connsiteX6" fmla="*/ 26912 w 43713"/>
                <a:gd name="connsiteY6" fmla="*/ 80351 h 89008"/>
                <a:gd name="connsiteX7" fmla="*/ 6825 w 43713"/>
                <a:gd name="connsiteY7" fmla="*/ 86560 h 89008"/>
                <a:gd name="connsiteX8" fmla="*/ 2442 w 43713"/>
                <a:gd name="connsiteY8" fmla="*/ 63185 h 89008"/>
                <a:gd name="connsiteX9" fmla="*/ 2807 w 43713"/>
                <a:gd name="connsiteY9" fmla="*/ 63185 h 89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713" h="89008">
                  <a:moveTo>
                    <a:pt x="2807" y="63550"/>
                  </a:moveTo>
                  <a:lnTo>
                    <a:pt x="31295" y="8400"/>
                  </a:lnTo>
                  <a:cubicBezTo>
                    <a:pt x="33852" y="2922"/>
                    <a:pt x="38965" y="0"/>
                    <a:pt x="43713" y="0"/>
                  </a:cubicBezTo>
                  <a:lnTo>
                    <a:pt x="21799" y="42367"/>
                  </a:lnTo>
                  <a:cubicBezTo>
                    <a:pt x="17782" y="50402"/>
                    <a:pt x="19608" y="60628"/>
                    <a:pt x="26182" y="65741"/>
                  </a:cubicBezTo>
                  <a:cubicBezTo>
                    <a:pt x="28373" y="67202"/>
                    <a:pt x="30930" y="67933"/>
                    <a:pt x="33487" y="67933"/>
                  </a:cubicBezTo>
                  <a:lnTo>
                    <a:pt x="26912" y="80351"/>
                  </a:lnTo>
                  <a:cubicBezTo>
                    <a:pt x="22895" y="88386"/>
                    <a:pt x="13764" y="91673"/>
                    <a:pt x="6825" y="86560"/>
                  </a:cubicBezTo>
                  <a:cubicBezTo>
                    <a:pt x="251" y="82177"/>
                    <a:pt x="-2306" y="71220"/>
                    <a:pt x="2442" y="63185"/>
                  </a:cubicBezTo>
                  <a:lnTo>
                    <a:pt x="2807" y="63185"/>
                  </a:lnTo>
                  <a:close/>
                </a:path>
              </a:pathLst>
            </a:custGeom>
            <a:solidFill>
              <a:srgbClr val="283C4A"/>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5" name="Freeform: Shape 2361">
              <a:extLst>
                <a:ext uri="{FF2B5EF4-FFF2-40B4-BE49-F238E27FC236}">
                  <a16:creationId xmlns:a16="http://schemas.microsoft.com/office/drawing/2014/main" id="{C2AB96F0-576C-EFBF-4624-54598160B8E2}"/>
                </a:ext>
              </a:extLst>
            </p:cNvPr>
            <p:cNvSpPr/>
            <p:nvPr/>
          </p:nvSpPr>
          <p:spPr>
            <a:xfrm>
              <a:off x="8911697" y="2552144"/>
              <a:ext cx="17896" cy="41271"/>
            </a:xfrm>
            <a:custGeom>
              <a:avLst/>
              <a:gdLst>
                <a:gd name="connsiteX0" fmla="*/ 0 w 17896"/>
                <a:gd name="connsiteY0" fmla="*/ 0 h 41271"/>
                <a:gd name="connsiteX1" fmla="*/ 13148 w 17896"/>
                <a:gd name="connsiteY1" fmla="*/ 14244 h 41271"/>
                <a:gd name="connsiteX2" fmla="*/ 17896 w 17896"/>
                <a:gd name="connsiteY2" fmla="*/ 41271 h 41271"/>
                <a:gd name="connsiteX3" fmla="*/ 10226 w 17896"/>
                <a:gd name="connsiteY3" fmla="*/ 27027 h 41271"/>
                <a:gd name="connsiteX4" fmla="*/ 0 w 17896"/>
                <a:gd name="connsiteY4" fmla="*/ 0 h 41271"/>
                <a:gd name="connsiteX5" fmla="*/ 0 w 17896"/>
                <a:gd name="connsiteY5" fmla="*/ 0 h 41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96" h="41271">
                  <a:moveTo>
                    <a:pt x="0" y="0"/>
                  </a:moveTo>
                  <a:cubicBezTo>
                    <a:pt x="0" y="0"/>
                    <a:pt x="10592" y="8035"/>
                    <a:pt x="13148" y="14244"/>
                  </a:cubicBezTo>
                  <a:cubicBezTo>
                    <a:pt x="14609" y="18627"/>
                    <a:pt x="17896" y="41271"/>
                    <a:pt x="17896" y="41271"/>
                  </a:cubicBezTo>
                  <a:cubicBezTo>
                    <a:pt x="17896" y="41271"/>
                    <a:pt x="11687" y="35793"/>
                    <a:pt x="10226" y="27027"/>
                  </a:cubicBezTo>
                  <a:cubicBezTo>
                    <a:pt x="8035" y="13879"/>
                    <a:pt x="0" y="0"/>
                    <a:pt x="0" y="0"/>
                  </a:cubicBezTo>
                  <a:lnTo>
                    <a:pt x="0" y="0"/>
                  </a:lnTo>
                  <a:close/>
                </a:path>
              </a:pathLst>
            </a:custGeom>
            <a:solidFill>
              <a:srgbClr val="C69E87"/>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6" name="Freeform: Shape 2362">
              <a:extLst>
                <a:ext uri="{FF2B5EF4-FFF2-40B4-BE49-F238E27FC236}">
                  <a16:creationId xmlns:a16="http://schemas.microsoft.com/office/drawing/2014/main" id="{8FD7CA97-531F-E4A9-AB99-C4B1F8D17D28}"/>
                </a:ext>
              </a:extLst>
            </p:cNvPr>
            <p:cNvSpPr/>
            <p:nvPr/>
          </p:nvSpPr>
          <p:spPr>
            <a:xfrm>
              <a:off x="8911988" y="2556751"/>
              <a:ext cx="27101" cy="49447"/>
            </a:xfrm>
            <a:custGeom>
              <a:avLst/>
              <a:gdLst>
                <a:gd name="connsiteX0" fmla="*/ 6648 w 27101"/>
                <a:gd name="connsiteY0" fmla="*/ 9272 h 49447"/>
                <a:gd name="connsiteX1" fmla="*/ 19066 w 27101"/>
                <a:gd name="connsiteY1" fmla="*/ 34838 h 49447"/>
                <a:gd name="connsiteX2" fmla="*/ 27101 w 27101"/>
                <a:gd name="connsiteY2" fmla="*/ 49447 h 49447"/>
                <a:gd name="connsiteX3" fmla="*/ 22718 w 27101"/>
                <a:gd name="connsiteY3" fmla="*/ 24977 h 49447"/>
                <a:gd name="connsiteX4" fmla="*/ 18701 w 27101"/>
                <a:gd name="connsiteY4" fmla="*/ 10733 h 49447"/>
                <a:gd name="connsiteX5" fmla="*/ 6648 w 27101"/>
                <a:gd name="connsiteY5" fmla="*/ 9272 h 49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01" h="49447">
                  <a:moveTo>
                    <a:pt x="6648" y="9272"/>
                  </a:moveTo>
                  <a:cubicBezTo>
                    <a:pt x="13953" y="13655"/>
                    <a:pt x="17970" y="22785"/>
                    <a:pt x="19066" y="34838"/>
                  </a:cubicBezTo>
                  <a:cubicBezTo>
                    <a:pt x="20892" y="46160"/>
                    <a:pt x="27101" y="49447"/>
                    <a:pt x="27101" y="49447"/>
                  </a:cubicBezTo>
                  <a:cubicBezTo>
                    <a:pt x="27101" y="49447"/>
                    <a:pt x="27101" y="42143"/>
                    <a:pt x="22718" y="24977"/>
                  </a:cubicBezTo>
                  <a:cubicBezTo>
                    <a:pt x="21257" y="20229"/>
                    <a:pt x="20162" y="15116"/>
                    <a:pt x="18701" y="10733"/>
                  </a:cubicBezTo>
                  <a:cubicBezTo>
                    <a:pt x="13953" y="-4607"/>
                    <a:pt x="-11979" y="-2050"/>
                    <a:pt x="6648" y="9272"/>
                  </a:cubicBezTo>
                  <a:close/>
                </a:path>
              </a:pathLst>
            </a:custGeom>
            <a:solidFill>
              <a:srgbClr val="C69E87"/>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7" name="Freeform: Shape 2363">
              <a:extLst>
                <a:ext uri="{FF2B5EF4-FFF2-40B4-BE49-F238E27FC236}">
                  <a16:creationId xmlns:a16="http://schemas.microsoft.com/office/drawing/2014/main" id="{1C28C8F4-3761-E876-DD20-77A9A55FC2CF}"/>
                </a:ext>
              </a:extLst>
            </p:cNvPr>
            <p:cNvSpPr/>
            <p:nvPr/>
          </p:nvSpPr>
          <p:spPr>
            <a:xfrm>
              <a:off x="8907124" y="2533094"/>
              <a:ext cx="36348" cy="31262"/>
            </a:xfrm>
            <a:custGeom>
              <a:avLst/>
              <a:gdLst>
                <a:gd name="connsiteX0" fmla="*/ 6034 w 36348"/>
                <a:gd name="connsiteY0" fmla="*/ 3711 h 31262"/>
                <a:gd name="connsiteX1" fmla="*/ 18087 w 36348"/>
                <a:gd name="connsiteY1" fmla="*/ 19781 h 31262"/>
                <a:gd name="connsiteX2" fmla="*/ 36348 w 36348"/>
                <a:gd name="connsiteY2" fmla="*/ 29642 h 31262"/>
                <a:gd name="connsiteX3" fmla="*/ 4573 w 36348"/>
                <a:gd name="connsiteY3" fmla="*/ 20511 h 31262"/>
                <a:gd name="connsiteX4" fmla="*/ 6399 w 36348"/>
                <a:gd name="connsiteY4" fmla="*/ 4076 h 31262"/>
                <a:gd name="connsiteX5" fmla="*/ 6034 w 36348"/>
                <a:gd name="connsiteY5" fmla="*/ 3711 h 3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348" h="31262">
                  <a:moveTo>
                    <a:pt x="6034" y="3711"/>
                  </a:moveTo>
                  <a:cubicBezTo>
                    <a:pt x="8225" y="9189"/>
                    <a:pt x="14434" y="17955"/>
                    <a:pt x="18087" y="19781"/>
                  </a:cubicBezTo>
                  <a:cubicBezTo>
                    <a:pt x="27948" y="25625"/>
                    <a:pt x="36348" y="29277"/>
                    <a:pt x="36348" y="29642"/>
                  </a:cubicBezTo>
                  <a:cubicBezTo>
                    <a:pt x="25756" y="35851"/>
                    <a:pt x="12243" y="22338"/>
                    <a:pt x="4573" y="20511"/>
                  </a:cubicBezTo>
                  <a:cubicBezTo>
                    <a:pt x="-3097" y="18685"/>
                    <a:pt x="-175" y="-10533"/>
                    <a:pt x="6399" y="4076"/>
                  </a:cubicBezTo>
                  <a:lnTo>
                    <a:pt x="6034" y="3711"/>
                  </a:lnTo>
                  <a:close/>
                </a:path>
              </a:pathLst>
            </a:custGeom>
            <a:solidFill>
              <a:srgbClr val="C69E87"/>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8" name="Freeform: Shape 2364">
              <a:extLst>
                <a:ext uri="{FF2B5EF4-FFF2-40B4-BE49-F238E27FC236}">
                  <a16:creationId xmlns:a16="http://schemas.microsoft.com/office/drawing/2014/main" id="{35E737F6-69A0-31FC-8B82-BBBB0350A47C}"/>
                </a:ext>
              </a:extLst>
            </p:cNvPr>
            <p:cNvSpPr/>
            <p:nvPr/>
          </p:nvSpPr>
          <p:spPr>
            <a:xfrm>
              <a:off x="8832064" y="2478939"/>
              <a:ext cx="101296" cy="99047"/>
            </a:xfrm>
            <a:custGeom>
              <a:avLst/>
              <a:gdLst>
                <a:gd name="connsiteX0" fmla="*/ 14987 w 101296"/>
                <a:gd name="connsiteY0" fmla="*/ 22074 h 99047"/>
                <a:gd name="connsiteX1" fmla="*/ 64658 w 101296"/>
                <a:gd name="connsiteY1" fmla="*/ 53118 h 99047"/>
                <a:gd name="connsiteX2" fmla="*/ 86207 w 101296"/>
                <a:gd name="connsiteY2" fmla="*/ 87085 h 99047"/>
                <a:gd name="connsiteX3" fmla="*/ 89494 w 101296"/>
                <a:gd name="connsiteY3" fmla="*/ 89641 h 99047"/>
                <a:gd name="connsiteX4" fmla="*/ 97529 w 101296"/>
                <a:gd name="connsiteY4" fmla="*/ 95120 h 99047"/>
                <a:gd name="connsiteX5" fmla="*/ 101181 w 101296"/>
                <a:gd name="connsiteY5" fmla="*/ 98407 h 99047"/>
                <a:gd name="connsiteX6" fmla="*/ 84746 w 101296"/>
                <a:gd name="connsiteY6" fmla="*/ 56405 h 99047"/>
                <a:gd name="connsiteX7" fmla="*/ 20830 w 101296"/>
                <a:gd name="connsiteY7" fmla="*/ 4177 h 99047"/>
                <a:gd name="connsiteX8" fmla="*/ 14987 w 101296"/>
                <a:gd name="connsiteY8" fmla="*/ 22804 h 99047"/>
                <a:gd name="connsiteX9" fmla="*/ 14987 w 101296"/>
                <a:gd name="connsiteY9" fmla="*/ 22074 h 99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296" h="99047">
                  <a:moveTo>
                    <a:pt x="14987" y="22074"/>
                  </a:moveTo>
                  <a:cubicBezTo>
                    <a:pt x="34344" y="33396"/>
                    <a:pt x="56988" y="42161"/>
                    <a:pt x="64658" y="53118"/>
                  </a:cubicBezTo>
                  <a:cubicBezTo>
                    <a:pt x="75980" y="67727"/>
                    <a:pt x="74885" y="80510"/>
                    <a:pt x="86207" y="87085"/>
                  </a:cubicBezTo>
                  <a:cubicBezTo>
                    <a:pt x="87668" y="87815"/>
                    <a:pt x="88398" y="88911"/>
                    <a:pt x="89494" y="89641"/>
                  </a:cubicBezTo>
                  <a:cubicBezTo>
                    <a:pt x="92781" y="91833"/>
                    <a:pt x="96068" y="94024"/>
                    <a:pt x="97529" y="95120"/>
                  </a:cubicBezTo>
                  <a:cubicBezTo>
                    <a:pt x="98990" y="96580"/>
                    <a:pt x="101912" y="100598"/>
                    <a:pt x="101181" y="98407"/>
                  </a:cubicBezTo>
                  <a:cubicBezTo>
                    <a:pt x="95703" y="80145"/>
                    <a:pt x="87668" y="59327"/>
                    <a:pt x="84746" y="56405"/>
                  </a:cubicBezTo>
                  <a:cubicBezTo>
                    <a:pt x="78172" y="49831"/>
                    <a:pt x="38361" y="14404"/>
                    <a:pt x="20830" y="4177"/>
                  </a:cubicBezTo>
                  <a:cubicBezTo>
                    <a:pt x="1108" y="-7510"/>
                    <a:pt x="-11310" y="7464"/>
                    <a:pt x="14987" y="22804"/>
                  </a:cubicBezTo>
                  <a:lnTo>
                    <a:pt x="14987" y="22074"/>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9" name="Freeform: Shape 2365">
              <a:extLst>
                <a:ext uri="{FF2B5EF4-FFF2-40B4-BE49-F238E27FC236}">
                  <a16:creationId xmlns:a16="http://schemas.microsoft.com/office/drawing/2014/main" id="{613A2F10-ABAC-F411-78C9-F3CF9DC9D7FB}"/>
                </a:ext>
              </a:extLst>
            </p:cNvPr>
            <p:cNvSpPr/>
            <p:nvPr/>
          </p:nvSpPr>
          <p:spPr>
            <a:xfrm>
              <a:off x="8919732" y="2561530"/>
              <a:ext cx="33235" cy="40286"/>
            </a:xfrm>
            <a:custGeom>
              <a:avLst/>
              <a:gdLst>
                <a:gd name="connsiteX0" fmla="*/ 0 w 33235"/>
                <a:gd name="connsiteY0" fmla="*/ 2667 h 40286"/>
                <a:gd name="connsiteX1" fmla="*/ 5478 w 33235"/>
                <a:gd name="connsiteY1" fmla="*/ 476 h 40286"/>
                <a:gd name="connsiteX2" fmla="*/ 20818 w 33235"/>
                <a:gd name="connsiteY2" fmla="*/ 16181 h 40286"/>
                <a:gd name="connsiteX3" fmla="*/ 33236 w 33235"/>
                <a:gd name="connsiteY3" fmla="*/ 40286 h 40286"/>
                <a:gd name="connsiteX4" fmla="*/ 21549 w 33235"/>
                <a:gd name="connsiteY4" fmla="*/ 28599 h 40286"/>
                <a:gd name="connsiteX5" fmla="*/ 0 w 33235"/>
                <a:gd name="connsiteY5" fmla="*/ 2667 h 40286"/>
                <a:gd name="connsiteX6" fmla="*/ 0 w 33235"/>
                <a:gd name="connsiteY6" fmla="*/ 2667 h 40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35" h="40286">
                  <a:moveTo>
                    <a:pt x="0" y="2667"/>
                  </a:moveTo>
                  <a:cubicBezTo>
                    <a:pt x="0" y="2667"/>
                    <a:pt x="2191" y="-1350"/>
                    <a:pt x="5478" y="476"/>
                  </a:cubicBezTo>
                  <a:cubicBezTo>
                    <a:pt x="10957" y="3032"/>
                    <a:pt x="17896" y="12528"/>
                    <a:pt x="20818" y="16181"/>
                  </a:cubicBezTo>
                  <a:cubicBezTo>
                    <a:pt x="23375" y="20198"/>
                    <a:pt x="33236" y="40286"/>
                    <a:pt x="33236" y="40286"/>
                  </a:cubicBezTo>
                  <a:cubicBezTo>
                    <a:pt x="33236" y="40286"/>
                    <a:pt x="25566" y="36634"/>
                    <a:pt x="21549" y="28599"/>
                  </a:cubicBezTo>
                  <a:cubicBezTo>
                    <a:pt x="15705" y="16546"/>
                    <a:pt x="0" y="2667"/>
                    <a:pt x="0" y="2667"/>
                  </a:cubicBezTo>
                  <a:lnTo>
                    <a:pt x="0" y="2667"/>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0" name="Freeform: Shape 2366">
              <a:extLst>
                <a:ext uri="{FF2B5EF4-FFF2-40B4-BE49-F238E27FC236}">
                  <a16:creationId xmlns:a16="http://schemas.microsoft.com/office/drawing/2014/main" id="{544810BD-0D4F-EC5F-C6B7-498710EA74BA}"/>
                </a:ext>
              </a:extLst>
            </p:cNvPr>
            <p:cNvSpPr/>
            <p:nvPr/>
          </p:nvSpPr>
          <p:spPr>
            <a:xfrm>
              <a:off x="8818563" y="2459741"/>
              <a:ext cx="95325" cy="74141"/>
            </a:xfrm>
            <a:custGeom>
              <a:avLst/>
              <a:gdLst>
                <a:gd name="connsiteX0" fmla="*/ 8035 w 95325"/>
                <a:gd name="connsiteY0" fmla="*/ 0 h 74141"/>
                <a:gd name="connsiteX1" fmla="*/ 0 w 95325"/>
                <a:gd name="connsiteY1" fmla="*/ 22279 h 74141"/>
                <a:gd name="connsiteX2" fmla="*/ 95325 w 95325"/>
                <a:gd name="connsiteY2" fmla="*/ 74142 h 74141"/>
                <a:gd name="connsiteX3" fmla="*/ 8035 w 95325"/>
                <a:gd name="connsiteY3" fmla="*/ 0 h 74141"/>
              </a:gdLst>
              <a:ahLst/>
              <a:cxnLst>
                <a:cxn ang="0">
                  <a:pos x="connsiteX0" y="connsiteY0"/>
                </a:cxn>
                <a:cxn ang="0">
                  <a:pos x="connsiteX1" y="connsiteY1"/>
                </a:cxn>
                <a:cxn ang="0">
                  <a:pos x="connsiteX2" y="connsiteY2"/>
                </a:cxn>
                <a:cxn ang="0">
                  <a:pos x="connsiteX3" y="connsiteY3"/>
                </a:cxn>
              </a:cxnLst>
              <a:rect l="l" t="t" r="r" b="b"/>
              <a:pathLst>
                <a:path w="95325" h="74141">
                  <a:moveTo>
                    <a:pt x="8035" y="0"/>
                  </a:moveTo>
                  <a:cubicBezTo>
                    <a:pt x="4748" y="7305"/>
                    <a:pt x="2191" y="14609"/>
                    <a:pt x="0" y="22279"/>
                  </a:cubicBezTo>
                  <a:cubicBezTo>
                    <a:pt x="51132" y="51497"/>
                    <a:pt x="95325" y="74142"/>
                    <a:pt x="95325" y="74142"/>
                  </a:cubicBezTo>
                  <a:lnTo>
                    <a:pt x="8035" y="0"/>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1" name="Freeform: Shape 2367">
              <a:extLst>
                <a:ext uri="{FF2B5EF4-FFF2-40B4-BE49-F238E27FC236}">
                  <a16:creationId xmlns:a16="http://schemas.microsoft.com/office/drawing/2014/main" id="{D32C0AF7-E32D-9FE4-0800-88484FF1D5DC}"/>
                </a:ext>
              </a:extLst>
            </p:cNvPr>
            <p:cNvSpPr/>
            <p:nvPr/>
          </p:nvSpPr>
          <p:spPr>
            <a:xfrm>
              <a:off x="8764613" y="2429312"/>
              <a:ext cx="94855" cy="75352"/>
            </a:xfrm>
            <a:custGeom>
              <a:avLst/>
              <a:gdLst>
                <a:gd name="connsiteX0" fmla="*/ 992 w 94855"/>
                <a:gd name="connsiteY0" fmla="*/ 29333 h 75352"/>
                <a:gd name="connsiteX1" fmla="*/ 88282 w 94855"/>
                <a:gd name="connsiteY1" fmla="*/ 75352 h 75352"/>
                <a:gd name="connsiteX2" fmla="*/ 94491 w 94855"/>
                <a:gd name="connsiteY2" fmla="*/ 53804 h 75352"/>
                <a:gd name="connsiteX3" fmla="*/ 32767 w 94855"/>
                <a:gd name="connsiteY3" fmla="*/ 4132 h 75352"/>
                <a:gd name="connsiteX4" fmla="*/ 626 w 94855"/>
                <a:gd name="connsiteY4" fmla="*/ 29333 h 75352"/>
                <a:gd name="connsiteX5" fmla="*/ 992 w 94855"/>
                <a:gd name="connsiteY5" fmla="*/ 29333 h 75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855" h="75352">
                  <a:moveTo>
                    <a:pt x="992" y="29333"/>
                  </a:moveTo>
                  <a:cubicBezTo>
                    <a:pt x="19253" y="74257"/>
                    <a:pt x="88282" y="75352"/>
                    <a:pt x="88282" y="75352"/>
                  </a:cubicBezTo>
                  <a:cubicBezTo>
                    <a:pt x="88282" y="75352"/>
                    <a:pt x="96682" y="63300"/>
                    <a:pt x="94491" y="53804"/>
                  </a:cubicBezTo>
                  <a:cubicBezTo>
                    <a:pt x="91934" y="41751"/>
                    <a:pt x="74403" y="29699"/>
                    <a:pt x="32767" y="4132"/>
                  </a:cubicBezTo>
                  <a:cubicBezTo>
                    <a:pt x="6835" y="-11572"/>
                    <a:pt x="-2661" y="22029"/>
                    <a:pt x="626" y="29333"/>
                  </a:cubicBezTo>
                  <a:lnTo>
                    <a:pt x="992" y="29333"/>
                  </a:lnTo>
                  <a:close/>
                </a:path>
              </a:pathLst>
            </a:custGeom>
            <a:solidFill>
              <a:srgbClr val="088AC8"/>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2" name="Freeform: Shape 2368">
              <a:extLst>
                <a:ext uri="{FF2B5EF4-FFF2-40B4-BE49-F238E27FC236}">
                  <a16:creationId xmlns:a16="http://schemas.microsoft.com/office/drawing/2014/main" id="{D23477FA-D264-AEF6-6147-6C47DB5B1B31}"/>
                </a:ext>
              </a:extLst>
            </p:cNvPr>
            <p:cNvSpPr/>
            <p:nvPr/>
          </p:nvSpPr>
          <p:spPr>
            <a:xfrm>
              <a:off x="9104479" y="2531744"/>
              <a:ext cx="78489" cy="40509"/>
            </a:xfrm>
            <a:custGeom>
              <a:avLst/>
              <a:gdLst>
                <a:gd name="connsiteX0" fmla="*/ 77488 w 78489"/>
                <a:gd name="connsiteY0" fmla="*/ 13462 h 40509"/>
                <a:gd name="connsiteX1" fmla="*/ 63610 w 78489"/>
                <a:gd name="connsiteY1" fmla="*/ 40489 h 40509"/>
                <a:gd name="connsiteX2" fmla="*/ 57035 w 78489"/>
                <a:gd name="connsiteY2" fmla="*/ 40489 h 40509"/>
                <a:gd name="connsiteX3" fmla="*/ 59 w 78489"/>
                <a:gd name="connsiteY3" fmla="*/ 12001 h 40509"/>
                <a:gd name="connsiteX4" fmla="*/ 77488 w 78489"/>
                <a:gd name="connsiteY4" fmla="*/ 13462 h 40509"/>
                <a:gd name="connsiteX5" fmla="*/ 77488 w 78489"/>
                <a:gd name="connsiteY5" fmla="*/ 13462 h 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89" h="40509">
                  <a:moveTo>
                    <a:pt x="77488" y="13462"/>
                  </a:moveTo>
                  <a:cubicBezTo>
                    <a:pt x="81506" y="16018"/>
                    <a:pt x="72740" y="41219"/>
                    <a:pt x="63610" y="40489"/>
                  </a:cubicBezTo>
                  <a:lnTo>
                    <a:pt x="57035" y="40489"/>
                  </a:lnTo>
                  <a:cubicBezTo>
                    <a:pt x="57035" y="40489"/>
                    <a:pt x="-2132" y="42315"/>
                    <a:pt x="59" y="12001"/>
                  </a:cubicBezTo>
                  <a:cubicBezTo>
                    <a:pt x="59" y="11635"/>
                    <a:pt x="14303" y="-15757"/>
                    <a:pt x="77488" y="13462"/>
                  </a:cubicBezTo>
                  <a:lnTo>
                    <a:pt x="77488" y="13462"/>
                  </a:lnTo>
                  <a:close/>
                </a:path>
              </a:pathLst>
            </a:custGeom>
            <a:solidFill>
              <a:srgbClr val="088AC8"/>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3" name="Freeform: Shape 2369">
              <a:extLst>
                <a:ext uri="{FF2B5EF4-FFF2-40B4-BE49-F238E27FC236}">
                  <a16:creationId xmlns:a16="http://schemas.microsoft.com/office/drawing/2014/main" id="{913B6B54-2CCA-1E5B-A68A-5BCECC66DA04}"/>
                </a:ext>
              </a:extLst>
            </p:cNvPr>
            <p:cNvSpPr/>
            <p:nvPr/>
          </p:nvSpPr>
          <p:spPr>
            <a:xfrm>
              <a:off x="9251361" y="2556893"/>
              <a:ext cx="385683" cy="20818"/>
            </a:xfrm>
            <a:custGeom>
              <a:avLst/>
              <a:gdLst>
                <a:gd name="connsiteX0" fmla="*/ 0 w 385683"/>
                <a:gd name="connsiteY0" fmla="*/ 9496 h 20818"/>
                <a:gd name="connsiteX1" fmla="*/ 0 w 385683"/>
                <a:gd name="connsiteY1" fmla="*/ 9496 h 20818"/>
                <a:gd name="connsiteX2" fmla="*/ 0 w 385683"/>
                <a:gd name="connsiteY2" fmla="*/ 0 h 20818"/>
                <a:gd name="connsiteX3" fmla="*/ 385683 w 385683"/>
                <a:gd name="connsiteY3" fmla="*/ 0 h 20818"/>
                <a:gd name="connsiteX4" fmla="*/ 385683 w 385683"/>
                <a:gd name="connsiteY4" fmla="*/ 9496 h 20818"/>
                <a:gd name="connsiteX5" fmla="*/ 385683 w 385683"/>
                <a:gd name="connsiteY5" fmla="*/ 9496 h 20818"/>
                <a:gd name="connsiteX6" fmla="*/ 384953 w 385683"/>
                <a:gd name="connsiteY6" fmla="*/ 11322 h 20818"/>
                <a:gd name="connsiteX7" fmla="*/ 360847 w 385683"/>
                <a:gd name="connsiteY7" fmla="*/ 20818 h 20818"/>
                <a:gd name="connsiteX8" fmla="*/ 25201 w 385683"/>
                <a:gd name="connsiteY8" fmla="*/ 20818 h 20818"/>
                <a:gd name="connsiteX9" fmla="*/ 1096 w 385683"/>
                <a:gd name="connsiteY9" fmla="*/ 11322 h 20818"/>
                <a:gd name="connsiteX10" fmla="*/ 0 w 385683"/>
                <a:gd name="connsiteY10" fmla="*/ 9496 h 20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5683" h="20818">
                  <a:moveTo>
                    <a:pt x="0" y="9496"/>
                  </a:moveTo>
                  <a:lnTo>
                    <a:pt x="0" y="9496"/>
                  </a:lnTo>
                  <a:lnTo>
                    <a:pt x="0" y="0"/>
                  </a:lnTo>
                  <a:lnTo>
                    <a:pt x="385683" y="0"/>
                  </a:lnTo>
                  <a:lnTo>
                    <a:pt x="385683" y="9496"/>
                  </a:lnTo>
                  <a:lnTo>
                    <a:pt x="385683" y="9496"/>
                  </a:lnTo>
                  <a:lnTo>
                    <a:pt x="384953" y="11322"/>
                  </a:lnTo>
                  <a:cubicBezTo>
                    <a:pt x="380205" y="19357"/>
                    <a:pt x="371074" y="20818"/>
                    <a:pt x="360847" y="20818"/>
                  </a:cubicBezTo>
                  <a:lnTo>
                    <a:pt x="25201" y="20818"/>
                  </a:lnTo>
                  <a:cubicBezTo>
                    <a:pt x="14974" y="20818"/>
                    <a:pt x="5844" y="19357"/>
                    <a:pt x="1096" y="11322"/>
                  </a:cubicBezTo>
                  <a:lnTo>
                    <a:pt x="0" y="9496"/>
                  </a:lnTo>
                  <a:close/>
                </a:path>
              </a:pathLst>
            </a:custGeom>
            <a:solidFill>
              <a:srgbClr val="76767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4" name="Freeform: Shape 2370">
              <a:extLst>
                <a:ext uri="{FF2B5EF4-FFF2-40B4-BE49-F238E27FC236}">
                  <a16:creationId xmlns:a16="http://schemas.microsoft.com/office/drawing/2014/main" id="{EB9ECE56-D36E-F253-8949-4836D6E6CDDC}"/>
                </a:ext>
              </a:extLst>
            </p:cNvPr>
            <p:cNvSpPr/>
            <p:nvPr/>
          </p:nvSpPr>
          <p:spPr>
            <a:xfrm>
              <a:off x="9255013" y="2560910"/>
              <a:ext cx="89481" cy="13513"/>
            </a:xfrm>
            <a:custGeom>
              <a:avLst/>
              <a:gdLst>
                <a:gd name="connsiteX0" fmla="*/ 89481 w 89481"/>
                <a:gd name="connsiteY0" fmla="*/ 7305 h 13513"/>
                <a:gd name="connsiteX1" fmla="*/ 89481 w 89481"/>
                <a:gd name="connsiteY1" fmla="*/ 7305 h 13513"/>
                <a:gd name="connsiteX2" fmla="*/ 88751 w 89481"/>
                <a:gd name="connsiteY2" fmla="*/ 8766 h 13513"/>
                <a:gd name="connsiteX3" fmla="*/ 82907 w 89481"/>
                <a:gd name="connsiteY3" fmla="*/ 13514 h 13513"/>
                <a:gd name="connsiteX4" fmla="*/ 24105 w 89481"/>
                <a:gd name="connsiteY4" fmla="*/ 13514 h 13513"/>
                <a:gd name="connsiteX5" fmla="*/ 730 w 89481"/>
                <a:gd name="connsiteY5" fmla="*/ 5844 h 13513"/>
                <a:gd name="connsiteX6" fmla="*/ 0 w 89481"/>
                <a:gd name="connsiteY6" fmla="*/ 4383 h 13513"/>
                <a:gd name="connsiteX7" fmla="*/ 0 w 89481"/>
                <a:gd name="connsiteY7" fmla="*/ 4383 h 13513"/>
                <a:gd name="connsiteX8" fmla="*/ 0 w 89481"/>
                <a:gd name="connsiteY8" fmla="*/ 0 h 13513"/>
                <a:gd name="connsiteX9" fmla="*/ 89481 w 89481"/>
                <a:gd name="connsiteY9" fmla="*/ 0 h 13513"/>
                <a:gd name="connsiteX10" fmla="*/ 89481 w 89481"/>
                <a:gd name="connsiteY10" fmla="*/ 7670 h 13513"/>
                <a:gd name="connsiteX11" fmla="*/ 89481 w 89481"/>
                <a:gd name="connsiteY11" fmla="*/ 7305 h 13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481" h="13513">
                  <a:moveTo>
                    <a:pt x="89481" y="7305"/>
                  </a:moveTo>
                  <a:lnTo>
                    <a:pt x="89481" y="7305"/>
                  </a:lnTo>
                  <a:lnTo>
                    <a:pt x="88751" y="8766"/>
                  </a:lnTo>
                  <a:cubicBezTo>
                    <a:pt x="88751" y="8766"/>
                    <a:pt x="85099" y="12418"/>
                    <a:pt x="82907" y="13514"/>
                  </a:cubicBezTo>
                  <a:lnTo>
                    <a:pt x="24105" y="13514"/>
                  </a:lnTo>
                  <a:cubicBezTo>
                    <a:pt x="14244" y="13514"/>
                    <a:pt x="5844" y="12053"/>
                    <a:pt x="730" y="5844"/>
                  </a:cubicBezTo>
                  <a:lnTo>
                    <a:pt x="0" y="4383"/>
                  </a:lnTo>
                  <a:lnTo>
                    <a:pt x="0" y="4383"/>
                  </a:lnTo>
                  <a:lnTo>
                    <a:pt x="0" y="0"/>
                  </a:lnTo>
                  <a:lnTo>
                    <a:pt x="89481" y="0"/>
                  </a:lnTo>
                  <a:lnTo>
                    <a:pt x="89481" y="7670"/>
                  </a:lnTo>
                  <a:lnTo>
                    <a:pt x="89481" y="7305"/>
                  </a:ln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5" name="Freeform: Shape 2371">
              <a:extLst>
                <a:ext uri="{FF2B5EF4-FFF2-40B4-BE49-F238E27FC236}">
                  <a16:creationId xmlns:a16="http://schemas.microsoft.com/office/drawing/2014/main" id="{19A5EB8B-8574-3004-46F8-72005E269762}"/>
                </a:ext>
              </a:extLst>
            </p:cNvPr>
            <p:cNvSpPr/>
            <p:nvPr/>
          </p:nvSpPr>
          <p:spPr>
            <a:xfrm>
              <a:off x="9396357" y="2558719"/>
              <a:ext cx="192476" cy="6574"/>
            </a:xfrm>
            <a:custGeom>
              <a:avLst/>
              <a:gdLst>
                <a:gd name="connsiteX0" fmla="*/ 0 w 192476"/>
                <a:gd name="connsiteY0" fmla="*/ 0 h 6574"/>
                <a:gd name="connsiteX1" fmla="*/ 192476 w 192476"/>
                <a:gd name="connsiteY1" fmla="*/ 0 h 6574"/>
                <a:gd name="connsiteX2" fmla="*/ 192476 w 192476"/>
                <a:gd name="connsiteY2" fmla="*/ 6574 h 6574"/>
                <a:gd name="connsiteX3" fmla="*/ 0 w 192476"/>
                <a:gd name="connsiteY3" fmla="*/ 6574 h 6574"/>
              </a:gdLst>
              <a:ahLst/>
              <a:cxnLst>
                <a:cxn ang="0">
                  <a:pos x="connsiteX0" y="connsiteY0"/>
                </a:cxn>
                <a:cxn ang="0">
                  <a:pos x="connsiteX1" y="connsiteY1"/>
                </a:cxn>
                <a:cxn ang="0">
                  <a:pos x="connsiteX2" y="connsiteY2"/>
                </a:cxn>
                <a:cxn ang="0">
                  <a:pos x="connsiteX3" y="connsiteY3"/>
                </a:cxn>
              </a:cxnLst>
              <a:rect l="l" t="t" r="r" b="b"/>
              <a:pathLst>
                <a:path w="192476" h="6574">
                  <a:moveTo>
                    <a:pt x="0" y="0"/>
                  </a:moveTo>
                  <a:lnTo>
                    <a:pt x="192476" y="0"/>
                  </a:lnTo>
                  <a:lnTo>
                    <a:pt x="192476" y="6574"/>
                  </a:lnTo>
                  <a:lnTo>
                    <a:pt x="0" y="6574"/>
                  </a:ln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6" name="Freeform: Shape 2372">
              <a:extLst>
                <a:ext uri="{FF2B5EF4-FFF2-40B4-BE49-F238E27FC236}">
                  <a16:creationId xmlns:a16="http://schemas.microsoft.com/office/drawing/2014/main" id="{667F1437-5078-9C5D-C4DC-5C468E85D338}"/>
                </a:ext>
              </a:extLst>
            </p:cNvPr>
            <p:cNvSpPr/>
            <p:nvPr/>
          </p:nvSpPr>
          <p:spPr>
            <a:xfrm>
              <a:off x="9346686" y="2358207"/>
              <a:ext cx="338918" cy="198319"/>
            </a:xfrm>
            <a:custGeom>
              <a:avLst/>
              <a:gdLst>
                <a:gd name="connsiteX0" fmla="*/ 0 w 338918"/>
                <a:gd name="connsiteY0" fmla="*/ 198320 h 198319"/>
                <a:gd name="connsiteX1" fmla="*/ 50036 w 338918"/>
                <a:gd name="connsiteY1" fmla="*/ 9131 h 198319"/>
                <a:gd name="connsiteX2" fmla="*/ 61724 w 338918"/>
                <a:gd name="connsiteY2" fmla="*/ 0 h 198319"/>
                <a:gd name="connsiteX3" fmla="*/ 331994 w 338918"/>
                <a:gd name="connsiteY3" fmla="*/ 0 h 198319"/>
                <a:gd name="connsiteX4" fmla="*/ 338568 w 338918"/>
                <a:gd name="connsiteY4" fmla="*/ 9131 h 198319"/>
                <a:gd name="connsiteX5" fmla="*/ 288532 w 338918"/>
                <a:gd name="connsiteY5" fmla="*/ 198320 h 198319"/>
                <a:gd name="connsiteX6" fmla="*/ 0 w 338918"/>
                <a:gd name="connsiteY6" fmla="*/ 198320 h 198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918" h="198319">
                  <a:moveTo>
                    <a:pt x="0" y="198320"/>
                  </a:moveTo>
                  <a:lnTo>
                    <a:pt x="50036" y="9131"/>
                  </a:lnTo>
                  <a:cubicBezTo>
                    <a:pt x="51497" y="4383"/>
                    <a:pt x="56245" y="0"/>
                    <a:pt x="61724" y="0"/>
                  </a:cubicBezTo>
                  <a:lnTo>
                    <a:pt x="331994" y="0"/>
                  </a:lnTo>
                  <a:cubicBezTo>
                    <a:pt x="336742" y="0"/>
                    <a:pt x="340029" y="4017"/>
                    <a:pt x="338568" y="9131"/>
                  </a:cubicBezTo>
                  <a:lnTo>
                    <a:pt x="288532" y="198320"/>
                  </a:lnTo>
                  <a:lnTo>
                    <a:pt x="0" y="198320"/>
                  </a:lnTo>
                  <a:close/>
                </a:path>
              </a:pathLst>
            </a:custGeom>
            <a:solidFill>
              <a:srgbClr val="99999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7" name="Freeform: Shape 2373">
              <a:extLst>
                <a:ext uri="{FF2B5EF4-FFF2-40B4-BE49-F238E27FC236}">
                  <a16:creationId xmlns:a16="http://schemas.microsoft.com/office/drawing/2014/main" id="{E8BB937A-4AFE-6220-4D57-734FFD30F72D}"/>
                </a:ext>
              </a:extLst>
            </p:cNvPr>
            <p:cNvSpPr/>
            <p:nvPr/>
          </p:nvSpPr>
          <p:spPr>
            <a:xfrm>
              <a:off x="9498752" y="2439654"/>
              <a:ext cx="36262" cy="35062"/>
            </a:xfrm>
            <a:custGeom>
              <a:avLst/>
              <a:gdLst>
                <a:gd name="connsiteX0" fmla="*/ 600 w 36262"/>
                <a:gd name="connsiteY0" fmla="*/ 17531 h 35062"/>
                <a:gd name="connsiteX1" fmla="*/ 13748 w 36262"/>
                <a:gd name="connsiteY1" fmla="*/ 35062 h 35062"/>
                <a:gd name="connsiteX2" fmla="*/ 35662 w 36262"/>
                <a:gd name="connsiteY2" fmla="*/ 17531 h 35062"/>
                <a:gd name="connsiteX3" fmla="*/ 22514 w 36262"/>
                <a:gd name="connsiteY3" fmla="*/ 0 h 35062"/>
                <a:gd name="connsiteX4" fmla="*/ 600 w 36262"/>
                <a:gd name="connsiteY4" fmla="*/ 17531 h 35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62" h="35062">
                  <a:moveTo>
                    <a:pt x="600" y="17531"/>
                  </a:moveTo>
                  <a:cubicBezTo>
                    <a:pt x="-1957" y="27392"/>
                    <a:pt x="3887" y="35062"/>
                    <a:pt x="13748" y="35062"/>
                  </a:cubicBezTo>
                  <a:cubicBezTo>
                    <a:pt x="23609" y="35062"/>
                    <a:pt x="33471" y="27027"/>
                    <a:pt x="35662" y="17531"/>
                  </a:cubicBezTo>
                  <a:cubicBezTo>
                    <a:pt x="38219" y="7670"/>
                    <a:pt x="32375" y="0"/>
                    <a:pt x="22514" y="0"/>
                  </a:cubicBezTo>
                  <a:cubicBezTo>
                    <a:pt x="12653" y="0"/>
                    <a:pt x="2791" y="8035"/>
                    <a:pt x="600" y="17531"/>
                  </a:cubicBezTo>
                  <a:close/>
                </a:path>
              </a:pathLst>
            </a:custGeom>
            <a:solidFill>
              <a:srgbClr val="F2F2F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8" name="Freeform: Shape 2374">
              <a:extLst>
                <a:ext uri="{FF2B5EF4-FFF2-40B4-BE49-F238E27FC236}">
                  <a16:creationId xmlns:a16="http://schemas.microsoft.com/office/drawing/2014/main" id="{E62FCBA1-6F9E-9A2E-9678-FE35A905466E}"/>
                </a:ext>
              </a:extLst>
            </p:cNvPr>
            <p:cNvSpPr/>
            <p:nvPr/>
          </p:nvSpPr>
          <p:spPr>
            <a:xfrm>
              <a:off x="10172472" y="2552510"/>
              <a:ext cx="385683" cy="20818"/>
            </a:xfrm>
            <a:custGeom>
              <a:avLst/>
              <a:gdLst>
                <a:gd name="connsiteX0" fmla="*/ 385683 w 385683"/>
                <a:gd name="connsiteY0" fmla="*/ 9496 h 20818"/>
                <a:gd name="connsiteX1" fmla="*/ 385683 w 385683"/>
                <a:gd name="connsiteY1" fmla="*/ 9496 h 20818"/>
                <a:gd name="connsiteX2" fmla="*/ 385683 w 385683"/>
                <a:gd name="connsiteY2" fmla="*/ 0 h 20818"/>
                <a:gd name="connsiteX3" fmla="*/ 0 w 385683"/>
                <a:gd name="connsiteY3" fmla="*/ 0 h 20818"/>
                <a:gd name="connsiteX4" fmla="*/ 0 w 385683"/>
                <a:gd name="connsiteY4" fmla="*/ 9496 h 20818"/>
                <a:gd name="connsiteX5" fmla="*/ 0 w 385683"/>
                <a:gd name="connsiteY5" fmla="*/ 9496 h 20818"/>
                <a:gd name="connsiteX6" fmla="*/ 731 w 385683"/>
                <a:gd name="connsiteY6" fmla="*/ 11322 h 20818"/>
                <a:gd name="connsiteX7" fmla="*/ 24836 w 385683"/>
                <a:gd name="connsiteY7" fmla="*/ 20818 h 20818"/>
                <a:gd name="connsiteX8" fmla="*/ 360482 w 385683"/>
                <a:gd name="connsiteY8" fmla="*/ 20818 h 20818"/>
                <a:gd name="connsiteX9" fmla="*/ 384587 w 385683"/>
                <a:gd name="connsiteY9" fmla="*/ 11322 h 20818"/>
                <a:gd name="connsiteX10" fmla="*/ 385683 w 385683"/>
                <a:gd name="connsiteY10" fmla="*/ 9496 h 20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5683" h="20818">
                  <a:moveTo>
                    <a:pt x="385683" y="9496"/>
                  </a:moveTo>
                  <a:lnTo>
                    <a:pt x="385683" y="9496"/>
                  </a:lnTo>
                  <a:lnTo>
                    <a:pt x="385683" y="0"/>
                  </a:lnTo>
                  <a:lnTo>
                    <a:pt x="0" y="0"/>
                  </a:lnTo>
                  <a:lnTo>
                    <a:pt x="0" y="9496"/>
                  </a:lnTo>
                  <a:lnTo>
                    <a:pt x="0" y="9496"/>
                  </a:lnTo>
                  <a:lnTo>
                    <a:pt x="731" y="11322"/>
                  </a:lnTo>
                  <a:cubicBezTo>
                    <a:pt x="5478" y="19357"/>
                    <a:pt x="14609" y="20818"/>
                    <a:pt x="24836" y="20818"/>
                  </a:cubicBezTo>
                  <a:lnTo>
                    <a:pt x="360482" y="20818"/>
                  </a:lnTo>
                  <a:cubicBezTo>
                    <a:pt x="370709" y="20818"/>
                    <a:pt x="379839" y="19357"/>
                    <a:pt x="384587" y="11322"/>
                  </a:cubicBezTo>
                  <a:lnTo>
                    <a:pt x="385683" y="9496"/>
                  </a:lnTo>
                  <a:close/>
                </a:path>
              </a:pathLst>
            </a:custGeom>
            <a:solidFill>
              <a:srgbClr val="76767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9" name="Freeform: Shape 2375">
              <a:extLst>
                <a:ext uri="{FF2B5EF4-FFF2-40B4-BE49-F238E27FC236}">
                  <a16:creationId xmlns:a16="http://schemas.microsoft.com/office/drawing/2014/main" id="{B3DA7646-ED08-3FBC-CE61-7634A959BBC2}"/>
                </a:ext>
              </a:extLst>
            </p:cNvPr>
            <p:cNvSpPr/>
            <p:nvPr/>
          </p:nvSpPr>
          <p:spPr>
            <a:xfrm>
              <a:off x="10465021" y="2556527"/>
              <a:ext cx="89481" cy="13513"/>
            </a:xfrm>
            <a:custGeom>
              <a:avLst/>
              <a:gdLst>
                <a:gd name="connsiteX0" fmla="*/ 0 w 89481"/>
                <a:gd name="connsiteY0" fmla="*/ 7305 h 13513"/>
                <a:gd name="connsiteX1" fmla="*/ 0 w 89481"/>
                <a:gd name="connsiteY1" fmla="*/ 7305 h 13513"/>
                <a:gd name="connsiteX2" fmla="*/ 730 w 89481"/>
                <a:gd name="connsiteY2" fmla="*/ 8766 h 13513"/>
                <a:gd name="connsiteX3" fmla="*/ 6574 w 89481"/>
                <a:gd name="connsiteY3" fmla="*/ 13513 h 13513"/>
                <a:gd name="connsiteX4" fmla="*/ 65376 w 89481"/>
                <a:gd name="connsiteY4" fmla="*/ 13513 h 13513"/>
                <a:gd name="connsiteX5" fmla="*/ 88751 w 89481"/>
                <a:gd name="connsiteY5" fmla="*/ 5844 h 13513"/>
                <a:gd name="connsiteX6" fmla="*/ 89481 w 89481"/>
                <a:gd name="connsiteY6" fmla="*/ 4383 h 13513"/>
                <a:gd name="connsiteX7" fmla="*/ 89481 w 89481"/>
                <a:gd name="connsiteY7" fmla="*/ 4383 h 13513"/>
                <a:gd name="connsiteX8" fmla="*/ 89481 w 89481"/>
                <a:gd name="connsiteY8" fmla="*/ 0 h 13513"/>
                <a:gd name="connsiteX9" fmla="*/ 0 w 89481"/>
                <a:gd name="connsiteY9" fmla="*/ 0 h 13513"/>
                <a:gd name="connsiteX10" fmla="*/ 0 w 89481"/>
                <a:gd name="connsiteY10" fmla="*/ 7670 h 13513"/>
                <a:gd name="connsiteX11" fmla="*/ 0 w 89481"/>
                <a:gd name="connsiteY11" fmla="*/ 7305 h 13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481" h="13513">
                  <a:moveTo>
                    <a:pt x="0" y="7305"/>
                  </a:moveTo>
                  <a:lnTo>
                    <a:pt x="0" y="7305"/>
                  </a:lnTo>
                  <a:lnTo>
                    <a:pt x="730" y="8766"/>
                  </a:lnTo>
                  <a:cubicBezTo>
                    <a:pt x="730" y="8766"/>
                    <a:pt x="4383" y="12418"/>
                    <a:pt x="6574" y="13513"/>
                  </a:cubicBezTo>
                  <a:lnTo>
                    <a:pt x="65376" y="13513"/>
                  </a:lnTo>
                  <a:cubicBezTo>
                    <a:pt x="75237" y="13513"/>
                    <a:pt x="83638" y="12053"/>
                    <a:pt x="88751" y="5844"/>
                  </a:cubicBezTo>
                  <a:lnTo>
                    <a:pt x="89481" y="4383"/>
                  </a:lnTo>
                  <a:lnTo>
                    <a:pt x="89481" y="4383"/>
                  </a:lnTo>
                  <a:lnTo>
                    <a:pt x="89481" y="0"/>
                  </a:lnTo>
                  <a:lnTo>
                    <a:pt x="0" y="0"/>
                  </a:lnTo>
                  <a:lnTo>
                    <a:pt x="0" y="7670"/>
                  </a:lnTo>
                  <a:lnTo>
                    <a:pt x="0" y="7305"/>
                  </a:ln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0" name="Freeform: Shape 2376">
              <a:extLst>
                <a:ext uri="{FF2B5EF4-FFF2-40B4-BE49-F238E27FC236}">
                  <a16:creationId xmlns:a16="http://schemas.microsoft.com/office/drawing/2014/main" id="{C1EAC8AD-58C7-164F-132E-6EAA08786E33}"/>
                </a:ext>
              </a:extLst>
            </p:cNvPr>
            <p:cNvSpPr/>
            <p:nvPr/>
          </p:nvSpPr>
          <p:spPr>
            <a:xfrm>
              <a:off x="10220317" y="2554336"/>
              <a:ext cx="192476" cy="6574"/>
            </a:xfrm>
            <a:custGeom>
              <a:avLst/>
              <a:gdLst>
                <a:gd name="connsiteX0" fmla="*/ 0 w 192476"/>
                <a:gd name="connsiteY0" fmla="*/ 0 h 6574"/>
                <a:gd name="connsiteX1" fmla="*/ 192476 w 192476"/>
                <a:gd name="connsiteY1" fmla="*/ 0 h 6574"/>
                <a:gd name="connsiteX2" fmla="*/ 192476 w 192476"/>
                <a:gd name="connsiteY2" fmla="*/ 6574 h 6574"/>
                <a:gd name="connsiteX3" fmla="*/ 0 w 192476"/>
                <a:gd name="connsiteY3" fmla="*/ 6574 h 6574"/>
              </a:gdLst>
              <a:ahLst/>
              <a:cxnLst>
                <a:cxn ang="0">
                  <a:pos x="connsiteX0" y="connsiteY0"/>
                </a:cxn>
                <a:cxn ang="0">
                  <a:pos x="connsiteX1" y="connsiteY1"/>
                </a:cxn>
                <a:cxn ang="0">
                  <a:pos x="connsiteX2" y="connsiteY2"/>
                </a:cxn>
                <a:cxn ang="0">
                  <a:pos x="connsiteX3" y="connsiteY3"/>
                </a:cxn>
              </a:cxnLst>
              <a:rect l="l" t="t" r="r" b="b"/>
              <a:pathLst>
                <a:path w="192476" h="6574">
                  <a:moveTo>
                    <a:pt x="0" y="0"/>
                  </a:moveTo>
                  <a:lnTo>
                    <a:pt x="192476" y="0"/>
                  </a:lnTo>
                  <a:lnTo>
                    <a:pt x="192476" y="6574"/>
                  </a:lnTo>
                  <a:lnTo>
                    <a:pt x="0" y="6574"/>
                  </a:ln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1" name="Freeform: Shape 2377">
              <a:extLst>
                <a:ext uri="{FF2B5EF4-FFF2-40B4-BE49-F238E27FC236}">
                  <a16:creationId xmlns:a16="http://schemas.microsoft.com/office/drawing/2014/main" id="{6EE34DB5-D521-3411-7D6C-888162AF2ACE}"/>
                </a:ext>
              </a:extLst>
            </p:cNvPr>
            <p:cNvSpPr/>
            <p:nvPr/>
          </p:nvSpPr>
          <p:spPr>
            <a:xfrm>
              <a:off x="10123911" y="2353825"/>
              <a:ext cx="338918" cy="198319"/>
            </a:xfrm>
            <a:custGeom>
              <a:avLst/>
              <a:gdLst>
                <a:gd name="connsiteX0" fmla="*/ 338919 w 338918"/>
                <a:gd name="connsiteY0" fmla="*/ 198320 h 198319"/>
                <a:gd name="connsiteX1" fmla="*/ 288882 w 338918"/>
                <a:gd name="connsiteY1" fmla="*/ 9131 h 198319"/>
                <a:gd name="connsiteX2" fmla="*/ 277195 w 338918"/>
                <a:gd name="connsiteY2" fmla="*/ 0 h 198319"/>
                <a:gd name="connsiteX3" fmla="*/ 6924 w 338918"/>
                <a:gd name="connsiteY3" fmla="*/ 0 h 198319"/>
                <a:gd name="connsiteX4" fmla="*/ 350 w 338918"/>
                <a:gd name="connsiteY4" fmla="*/ 9131 h 198319"/>
                <a:gd name="connsiteX5" fmla="*/ 50387 w 338918"/>
                <a:gd name="connsiteY5" fmla="*/ 198320 h 198319"/>
                <a:gd name="connsiteX6" fmla="*/ 338919 w 338918"/>
                <a:gd name="connsiteY6" fmla="*/ 198320 h 198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918" h="198319">
                  <a:moveTo>
                    <a:pt x="338919" y="198320"/>
                  </a:moveTo>
                  <a:lnTo>
                    <a:pt x="288882" y="9131"/>
                  </a:lnTo>
                  <a:cubicBezTo>
                    <a:pt x="287421" y="4383"/>
                    <a:pt x="282673" y="0"/>
                    <a:pt x="277195" y="0"/>
                  </a:cubicBezTo>
                  <a:lnTo>
                    <a:pt x="6924" y="0"/>
                  </a:lnTo>
                  <a:cubicBezTo>
                    <a:pt x="2176" y="0"/>
                    <a:pt x="-1111" y="4017"/>
                    <a:pt x="350" y="9131"/>
                  </a:cubicBezTo>
                  <a:lnTo>
                    <a:pt x="50387" y="198320"/>
                  </a:lnTo>
                  <a:lnTo>
                    <a:pt x="338919" y="198320"/>
                  </a:lnTo>
                  <a:close/>
                </a:path>
              </a:pathLst>
            </a:custGeom>
            <a:solidFill>
              <a:srgbClr val="99999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2" name="Freeform: Shape 2378">
              <a:extLst>
                <a:ext uri="{FF2B5EF4-FFF2-40B4-BE49-F238E27FC236}">
                  <a16:creationId xmlns:a16="http://schemas.microsoft.com/office/drawing/2014/main" id="{85946A4E-99AB-C019-0F24-F7D185C93D72}"/>
                </a:ext>
              </a:extLst>
            </p:cNvPr>
            <p:cNvSpPr/>
            <p:nvPr/>
          </p:nvSpPr>
          <p:spPr>
            <a:xfrm>
              <a:off x="10274136" y="2435271"/>
              <a:ext cx="36262" cy="35062"/>
            </a:xfrm>
            <a:custGeom>
              <a:avLst/>
              <a:gdLst>
                <a:gd name="connsiteX0" fmla="*/ 35662 w 36262"/>
                <a:gd name="connsiteY0" fmla="*/ 17531 h 35062"/>
                <a:gd name="connsiteX1" fmla="*/ 22514 w 36262"/>
                <a:gd name="connsiteY1" fmla="*/ 35062 h 35062"/>
                <a:gd name="connsiteX2" fmla="*/ 600 w 36262"/>
                <a:gd name="connsiteY2" fmla="*/ 17531 h 35062"/>
                <a:gd name="connsiteX3" fmla="*/ 13748 w 36262"/>
                <a:gd name="connsiteY3" fmla="*/ 0 h 35062"/>
                <a:gd name="connsiteX4" fmla="*/ 35662 w 36262"/>
                <a:gd name="connsiteY4" fmla="*/ 17531 h 35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62" h="35062">
                  <a:moveTo>
                    <a:pt x="35662" y="17531"/>
                  </a:moveTo>
                  <a:cubicBezTo>
                    <a:pt x="38219" y="27392"/>
                    <a:pt x="32375" y="35062"/>
                    <a:pt x="22514" y="35062"/>
                  </a:cubicBezTo>
                  <a:cubicBezTo>
                    <a:pt x="12653" y="35062"/>
                    <a:pt x="2792" y="27027"/>
                    <a:pt x="600" y="17531"/>
                  </a:cubicBezTo>
                  <a:cubicBezTo>
                    <a:pt x="-1957" y="7670"/>
                    <a:pt x="3887" y="0"/>
                    <a:pt x="13748" y="0"/>
                  </a:cubicBezTo>
                  <a:cubicBezTo>
                    <a:pt x="23609" y="0"/>
                    <a:pt x="33471" y="8035"/>
                    <a:pt x="35662" y="17531"/>
                  </a:cubicBezTo>
                  <a:close/>
                </a:path>
              </a:pathLst>
            </a:custGeom>
            <a:solidFill>
              <a:srgbClr val="F2F2F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3" name="Freeform: Shape 2379">
              <a:extLst>
                <a:ext uri="{FF2B5EF4-FFF2-40B4-BE49-F238E27FC236}">
                  <a16:creationId xmlns:a16="http://schemas.microsoft.com/office/drawing/2014/main" id="{CC913C63-400F-E033-C0F5-CE8215E4B115}"/>
                </a:ext>
              </a:extLst>
            </p:cNvPr>
            <p:cNvSpPr/>
            <p:nvPr/>
          </p:nvSpPr>
          <p:spPr>
            <a:xfrm>
              <a:off x="10540258" y="2597798"/>
              <a:ext cx="122352" cy="630752"/>
            </a:xfrm>
            <a:custGeom>
              <a:avLst/>
              <a:gdLst>
                <a:gd name="connsiteX0" fmla="*/ 82907 w 122352"/>
                <a:gd name="connsiteY0" fmla="*/ 630752 h 630752"/>
                <a:gd name="connsiteX1" fmla="*/ 122352 w 122352"/>
                <a:gd name="connsiteY1" fmla="*/ 630752 h 630752"/>
                <a:gd name="connsiteX2" fmla="*/ 57341 w 122352"/>
                <a:gd name="connsiteY2" fmla="*/ 0 h 630752"/>
                <a:gd name="connsiteX3" fmla="*/ 0 w 122352"/>
                <a:gd name="connsiteY3" fmla="*/ 0 h 630752"/>
              </a:gdLst>
              <a:ahLst/>
              <a:cxnLst>
                <a:cxn ang="0">
                  <a:pos x="connsiteX0" y="connsiteY0"/>
                </a:cxn>
                <a:cxn ang="0">
                  <a:pos x="connsiteX1" y="connsiteY1"/>
                </a:cxn>
                <a:cxn ang="0">
                  <a:pos x="connsiteX2" y="connsiteY2"/>
                </a:cxn>
                <a:cxn ang="0">
                  <a:pos x="connsiteX3" y="connsiteY3"/>
                </a:cxn>
              </a:cxnLst>
              <a:rect l="l" t="t" r="r" b="b"/>
              <a:pathLst>
                <a:path w="122352" h="630752">
                  <a:moveTo>
                    <a:pt x="82907" y="630752"/>
                  </a:moveTo>
                  <a:lnTo>
                    <a:pt x="122352" y="630752"/>
                  </a:lnTo>
                  <a:lnTo>
                    <a:pt x="57341" y="0"/>
                  </a:lnTo>
                  <a:lnTo>
                    <a:pt x="0" y="0"/>
                  </a:lnTo>
                  <a:close/>
                </a:path>
              </a:pathLst>
            </a:custGeom>
            <a:solidFill>
              <a:srgbClr val="808080"/>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4" name="Freeform: Shape 2380">
              <a:extLst>
                <a:ext uri="{FF2B5EF4-FFF2-40B4-BE49-F238E27FC236}">
                  <a16:creationId xmlns:a16="http://schemas.microsoft.com/office/drawing/2014/main" id="{E0DAB3F5-F8F1-B50E-BCCC-A30DE75687F9}"/>
                </a:ext>
              </a:extLst>
            </p:cNvPr>
            <p:cNvSpPr/>
            <p:nvPr/>
          </p:nvSpPr>
          <p:spPr>
            <a:xfrm>
              <a:off x="10543911" y="2597798"/>
              <a:ext cx="55149" cy="220233"/>
            </a:xfrm>
            <a:custGeom>
              <a:avLst/>
              <a:gdLst>
                <a:gd name="connsiteX0" fmla="*/ 0 w 55149"/>
                <a:gd name="connsiteY0" fmla="*/ 28853 h 220233"/>
                <a:gd name="connsiteX1" fmla="*/ 25201 w 55149"/>
                <a:gd name="connsiteY1" fmla="*/ 220234 h 220233"/>
                <a:gd name="connsiteX2" fmla="*/ 55150 w 55149"/>
                <a:gd name="connsiteY2" fmla="*/ 14244 h 220233"/>
                <a:gd name="connsiteX3" fmla="*/ 53689 w 55149"/>
                <a:gd name="connsiteY3" fmla="*/ 0 h 220233"/>
                <a:gd name="connsiteX4" fmla="*/ 3652 w 55149"/>
                <a:gd name="connsiteY4" fmla="*/ 0 h 220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149" h="220233">
                  <a:moveTo>
                    <a:pt x="0" y="28853"/>
                  </a:moveTo>
                  <a:lnTo>
                    <a:pt x="25201" y="220234"/>
                  </a:lnTo>
                  <a:lnTo>
                    <a:pt x="55150" y="14244"/>
                  </a:lnTo>
                  <a:lnTo>
                    <a:pt x="53689" y="0"/>
                  </a:lnTo>
                  <a:lnTo>
                    <a:pt x="3652" y="0"/>
                  </a:lnTo>
                  <a:close/>
                </a:path>
              </a:pathLst>
            </a:custGeom>
            <a:solidFill>
              <a:srgbClr val="75757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5" name="Freeform: Shape 2381">
              <a:extLst>
                <a:ext uri="{FF2B5EF4-FFF2-40B4-BE49-F238E27FC236}">
                  <a16:creationId xmlns:a16="http://schemas.microsoft.com/office/drawing/2014/main" id="{6685D4CA-2401-E5F2-9FA2-86C5F0DBD0F6}"/>
                </a:ext>
              </a:extLst>
            </p:cNvPr>
            <p:cNvSpPr/>
            <p:nvPr/>
          </p:nvSpPr>
          <p:spPr>
            <a:xfrm>
              <a:off x="9213377" y="2597798"/>
              <a:ext cx="121986" cy="630752"/>
            </a:xfrm>
            <a:custGeom>
              <a:avLst/>
              <a:gdLst>
                <a:gd name="connsiteX0" fmla="*/ 82542 w 121986"/>
                <a:gd name="connsiteY0" fmla="*/ 630752 h 630752"/>
                <a:gd name="connsiteX1" fmla="*/ 121987 w 121986"/>
                <a:gd name="connsiteY1" fmla="*/ 630752 h 630752"/>
                <a:gd name="connsiteX2" fmla="*/ 56611 w 121986"/>
                <a:gd name="connsiteY2" fmla="*/ 0 h 630752"/>
                <a:gd name="connsiteX3" fmla="*/ 0 w 121986"/>
                <a:gd name="connsiteY3" fmla="*/ 0 h 630752"/>
              </a:gdLst>
              <a:ahLst/>
              <a:cxnLst>
                <a:cxn ang="0">
                  <a:pos x="connsiteX0" y="connsiteY0"/>
                </a:cxn>
                <a:cxn ang="0">
                  <a:pos x="connsiteX1" y="connsiteY1"/>
                </a:cxn>
                <a:cxn ang="0">
                  <a:pos x="connsiteX2" y="connsiteY2"/>
                </a:cxn>
                <a:cxn ang="0">
                  <a:pos x="connsiteX3" y="connsiteY3"/>
                </a:cxn>
              </a:cxnLst>
              <a:rect l="l" t="t" r="r" b="b"/>
              <a:pathLst>
                <a:path w="121986" h="630752">
                  <a:moveTo>
                    <a:pt x="82542" y="630752"/>
                  </a:moveTo>
                  <a:lnTo>
                    <a:pt x="121987" y="630752"/>
                  </a:lnTo>
                  <a:lnTo>
                    <a:pt x="56611" y="0"/>
                  </a:lnTo>
                  <a:lnTo>
                    <a:pt x="0" y="0"/>
                  </a:lnTo>
                  <a:close/>
                </a:path>
              </a:pathLst>
            </a:custGeom>
            <a:solidFill>
              <a:srgbClr val="808080"/>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6" name="Freeform: Shape 2382">
              <a:extLst>
                <a:ext uri="{FF2B5EF4-FFF2-40B4-BE49-F238E27FC236}">
                  <a16:creationId xmlns:a16="http://schemas.microsoft.com/office/drawing/2014/main" id="{2BD6ACCB-A314-ADC1-EC34-124CB597956C}"/>
                </a:ext>
              </a:extLst>
            </p:cNvPr>
            <p:cNvSpPr/>
            <p:nvPr/>
          </p:nvSpPr>
          <p:spPr>
            <a:xfrm>
              <a:off x="9216664" y="2597798"/>
              <a:ext cx="55149" cy="220233"/>
            </a:xfrm>
            <a:custGeom>
              <a:avLst/>
              <a:gdLst>
                <a:gd name="connsiteX0" fmla="*/ 0 w 55149"/>
                <a:gd name="connsiteY0" fmla="*/ 28853 h 220233"/>
                <a:gd name="connsiteX1" fmla="*/ 25201 w 55149"/>
                <a:gd name="connsiteY1" fmla="*/ 220234 h 220233"/>
                <a:gd name="connsiteX2" fmla="*/ 55150 w 55149"/>
                <a:gd name="connsiteY2" fmla="*/ 14244 h 220233"/>
                <a:gd name="connsiteX3" fmla="*/ 53324 w 55149"/>
                <a:gd name="connsiteY3" fmla="*/ 0 h 220233"/>
                <a:gd name="connsiteX4" fmla="*/ 3652 w 55149"/>
                <a:gd name="connsiteY4" fmla="*/ 0 h 220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149" h="220233">
                  <a:moveTo>
                    <a:pt x="0" y="28853"/>
                  </a:moveTo>
                  <a:lnTo>
                    <a:pt x="25201" y="220234"/>
                  </a:lnTo>
                  <a:lnTo>
                    <a:pt x="55150" y="14244"/>
                  </a:lnTo>
                  <a:lnTo>
                    <a:pt x="53324" y="0"/>
                  </a:lnTo>
                  <a:lnTo>
                    <a:pt x="3652" y="0"/>
                  </a:lnTo>
                  <a:close/>
                </a:path>
              </a:pathLst>
            </a:custGeom>
            <a:solidFill>
              <a:srgbClr val="75757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7" name="Freeform: Shape 2383">
              <a:extLst>
                <a:ext uri="{FF2B5EF4-FFF2-40B4-BE49-F238E27FC236}">
                  <a16:creationId xmlns:a16="http://schemas.microsoft.com/office/drawing/2014/main" id="{23569FC6-93E7-FBE7-C307-681B99274738}"/>
                </a:ext>
              </a:extLst>
            </p:cNvPr>
            <p:cNvSpPr/>
            <p:nvPr/>
          </p:nvSpPr>
          <p:spPr>
            <a:xfrm>
              <a:off x="8842303" y="2597798"/>
              <a:ext cx="121986" cy="630752"/>
            </a:xfrm>
            <a:custGeom>
              <a:avLst/>
              <a:gdLst>
                <a:gd name="connsiteX0" fmla="*/ 39080 w 121986"/>
                <a:gd name="connsiteY0" fmla="*/ 630752 h 630752"/>
                <a:gd name="connsiteX1" fmla="*/ 0 w 121986"/>
                <a:gd name="connsiteY1" fmla="*/ 630752 h 630752"/>
                <a:gd name="connsiteX2" fmla="*/ 64646 w 121986"/>
                <a:gd name="connsiteY2" fmla="*/ 0 h 630752"/>
                <a:gd name="connsiteX3" fmla="*/ 121987 w 121986"/>
                <a:gd name="connsiteY3" fmla="*/ 0 h 630752"/>
              </a:gdLst>
              <a:ahLst/>
              <a:cxnLst>
                <a:cxn ang="0">
                  <a:pos x="connsiteX0" y="connsiteY0"/>
                </a:cxn>
                <a:cxn ang="0">
                  <a:pos x="connsiteX1" y="connsiteY1"/>
                </a:cxn>
                <a:cxn ang="0">
                  <a:pos x="connsiteX2" y="connsiteY2"/>
                </a:cxn>
                <a:cxn ang="0">
                  <a:pos x="connsiteX3" y="connsiteY3"/>
                </a:cxn>
              </a:cxnLst>
              <a:rect l="l" t="t" r="r" b="b"/>
              <a:pathLst>
                <a:path w="121986" h="630752">
                  <a:moveTo>
                    <a:pt x="39080" y="630752"/>
                  </a:moveTo>
                  <a:lnTo>
                    <a:pt x="0" y="630752"/>
                  </a:lnTo>
                  <a:lnTo>
                    <a:pt x="64646" y="0"/>
                  </a:lnTo>
                  <a:lnTo>
                    <a:pt x="121987" y="0"/>
                  </a:lnTo>
                  <a:close/>
                </a:path>
              </a:pathLst>
            </a:custGeom>
            <a:solidFill>
              <a:srgbClr val="808080"/>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8" name="Freeform: Shape 2384">
              <a:extLst>
                <a:ext uri="{FF2B5EF4-FFF2-40B4-BE49-F238E27FC236}">
                  <a16:creationId xmlns:a16="http://schemas.microsoft.com/office/drawing/2014/main" id="{56F6031C-8FC7-56EF-185E-0A55478A6C13}"/>
                </a:ext>
              </a:extLst>
            </p:cNvPr>
            <p:cNvSpPr/>
            <p:nvPr/>
          </p:nvSpPr>
          <p:spPr>
            <a:xfrm>
              <a:off x="8884305" y="2597798"/>
              <a:ext cx="76333" cy="223886"/>
            </a:xfrm>
            <a:custGeom>
              <a:avLst/>
              <a:gdLst>
                <a:gd name="connsiteX0" fmla="*/ 76333 w 76333"/>
                <a:gd name="connsiteY0" fmla="*/ 28853 h 223886"/>
                <a:gd name="connsiteX1" fmla="*/ 0 w 76333"/>
                <a:gd name="connsiteY1" fmla="*/ 223886 h 223886"/>
                <a:gd name="connsiteX2" fmla="*/ 21549 w 76333"/>
                <a:gd name="connsiteY2" fmla="*/ 14244 h 223886"/>
                <a:gd name="connsiteX3" fmla="*/ 22644 w 76333"/>
                <a:gd name="connsiteY3" fmla="*/ 0 h 223886"/>
                <a:gd name="connsiteX4" fmla="*/ 73046 w 76333"/>
                <a:gd name="connsiteY4" fmla="*/ 0 h 223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33" h="223886">
                  <a:moveTo>
                    <a:pt x="76333" y="28853"/>
                  </a:moveTo>
                  <a:lnTo>
                    <a:pt x="0" y="223886"/>
                  </a:lnTo>
                  <a:lnTo>
                    <a:pt x="21549" y="14244"/>
                  </a:lnTo>
                  <a:lnTo>
                    <a:pt x="22644" y="0"/>
                  </a:lnTo>
                  <a:lnTo>
                    <a:pt x="73046" y="0"/>
                  </a:lnTo>
                  <a:close/>
                </a:path>
              </a:pathLst>
            </a:custGeom>
            <a:solidFill>
              <a:srgbClr val="75757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9" name="Freeform: Shape 2385">
              <a:extLst>
                <a:ext uri="{FF2B5EF4-FFF2-40B4-BE49-F238E27FC236}">
                  <a16:creationId xmlns:a16="http://schemas.microsoft.com/office/drawing/2014/main" id="{0ABE65C5-C7F0-5FE0-8882-26B9BA487FC5}"/>
                </a:ext>
              </a:extLst>
            </p:cNvPr>
            <p:cNvSpPr/>
            <p:nvPr/>
          </p:nvSpPr>
          <p:spPr>
            <a:xfrm>
              <a:off x="8852164" y="2577711"/>
              <a:ext cx="1212564" cy="36523"/>
            </a:xfrm>
            <a:custGeom>
              <a:avLst/>
              <a:gdLst>
                <a:gd name="connsiteX0" fmla="*/ 0 w 1212564"/>
                <a:gd name="connsiteY0" fmla="*/ 0 h 36523"/>
                <a:gd name="connsiteX1" fmla="*/ 1212564 w 1212564"/>
                <a:gd name="connsiteY1" fmla="*/ 0 h 36523"/>
                <a:gd name="connsiteX2" fmla="*/ 1212564 w 1212564"/>
                <a:gd name="connsiteY2" fmla="*/ 36523 h 36523"/>
                <a:gd name="connsiteX3" fmla="*/ 0 w 1212564"/>
                <a:gd name="connsiteY3" fmla="*/ 36523 h 36523"/>
              </a:gdLst>
              <a:ahLst/>
              <a:cxnLst>
                <a:cxn ang="0">
                  <a:pos x="connsiteX0" y="connsiteY0"/>
                </a:cxn>
                <a:cxn ang="0">
                  <a:pos x="connsiteX1" y="connsiteY1"/>
                </a:cxn>
                <a:cxn ang="0">
                  <a:pos x="connsiteX2" y="connsiteY2"/>
                </a:cxn>
                <a:cxn ang="0">
                  <a:pos x="connsiteX3" y="connsiteY3"/>
                </a:cxn>
              </a:cxnLst>
              <a:rect l="l" t="t" r="r" b="b"/>
              <a:pathLst>
                <a:path w="1212564" h="36523">
                  <a:moveTo>
                    <a:pt x="0" y="0"/>
                  </a:moveTo>
                  <a:lnTo>
                    <a:pt x="1212564" y="0"/>
                  </a:lnTo>
                  <a:lnTo>
                    <a:pt x="1212564" y="36523"/>
                  </a:lnTo>
                  <a:lnTo>
                    <a:pt x="0" y="36523"/>
                  </a:lnTo>
                  <a:close/>
                </a:path>
              </a:pathLst>
            </a:custGeom>
            <a:solidFill>
              <a:srgbClr val="474747"/>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0" name="Freeform: Shape 2386">
              <a:extLst>
                <a:ext uri="{FF2B5EF4-FFF2-40B4-BE49-F238E27FC236}">
                  <a16:creationId xmlns:a16="http://schemas.microsoft.com/office/drawing/2014/main" id="{F4A95559-436D-068A-C816-DEA041206511}"/>
                </a:ext>
              </a:extLst>
            </p:cNvPr>
            <p:cNvSpPr/>
            <p:nvPr/>
          </p:nvSpPr>
          <p:spPr>
            <a:xfrm>
              <a:off x="9305780" y="2577711"/>
              <a:ext cx="1338934" cy="36523"/>
            </a:xfrm>
            <a:custGeom>
              <a:avLst/>
              <a:gdLst>
                <a:gd name="connsiteX0" fmla="*/ 0 w 1338934"/>
                <a:gd name="connsiteY0" fmla="*/ 0 h 36523"/>
                <a:gd name="connsiteX1" fmla="*/ 1338934 w 1338934"/>
                <a:gd name="connsiteY1" fmla="*/ 0 h 36523"/>
                <a:gd name="connsiteX2" fmla="*/ 1338934 w 1338934"/>
                <a:gd name="connsiteY2" fmla="*/ 36523 h 36523"/>
                <a:gd name="connsiteX3" fmla="*/ 0 w 1338934"/>
                <a:gd name="connsiteY3" fmla="*/ 36523 h 36523"/>
              </a:gdLst>
              <a:ahLst/>
              <a:cxnLst>
                <a:cxn ang="0">
                  <a:pos x="connsiteX0" y="connsiteY0"/>
                </a:cxn>
                <a:cxn ang="0">
                  <a:pos x="connsiteX1" y="connsiteY1"/>
                </a:cxn>
                <a:cxn ang="0">
                  <a:pos x="connsiteX2" y="connsiteY2"/>
                </a:cxn>
                <a:cxn ang="0">
                  <a:pos x="connsiteX3" y="connsiteY3"/>
                </a:cxn>
              </a:cxnLst>
              <a:rect l="l" t="t" r="r" b="b"/>
              <a:pathLst>
                <a:path w="1338934" h="36523">
                  <a:moveTo>
                    <a:pt x="0" y="0"/>
                  </a:moveTo>
                  <a:lnTo>
                    <a:pt x="1338934" y="0"/>
                  </a:lnTo>
                  <a:lnTo>
                    <a:pt x="1338934" y="36523"/>
                  </a:lnTo>
                  <a:lnTo>
                    <a:pt x="0" y="36523"/>
                  </a:lnTo>
                  <a:close/>
                </a:path>
              </a:pathLst>
            </a:custGeom>
            <a:solidFill>
              <a:srgbClr val="919191"/>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1" name="Freeform: Shape 2387">
              <a:extLst>
                <a:ext uri="{FF2B5EF4-FFF2-40B4-BE49-F238E27FC236}">
                  <a16:creationId xmlns:a16="http://schemas.microsoft.com/office/drawing/2014/main" id="{7F436E7C-C7AA-5A6C-B219-E31AC0D14B7A}"/>
                </a:ext>
              </a:extLst>
            </p:cNvPr>
            <p:cNvSpPr/>
            <p:nvPr/>
          </p:nvSpPr>
          <p:spPr>
            <a:xfrm>
              <a:off x="10077887" y="1666400"/>
              <a:ext cx="540583" cy="441624"/>
            </a:xfrm>
            <a:custGeom>
              <a:avLst/>
              <a:gdLst>
                <a:gd name="connsiteX0" fmla="*/ 239946 w 540583"/>
                <a:gd name="connsiteY0" fmla="*/ 792 h 441624"/>
                <a:gd name="connsiteX1" fmla="*/ 6199 w 540583"/>
                <a:gd name="connsiteY1" fmla="*/ 270697 h 441624"/>
                <a:gd name="connsiteX2" fmla="*/ 352802 w 540583"/>
                <a:gd name="connsiteY2" fmla="*/ 372231 h 441624"/>
                <a:gd name="connsiteX3" fmla="*/ 420735 w 540583"/>
                <a:gd name="connsiteY3" fmla="*/ 441625 h 441624"/>
                <a:gd name="connsiteX4" fmla="*/ 406856 w 540583"/>
                <a:gd name="connsiteY4" fmla="*/ 362735 h 441624"/>
                <a:gd name="connsiteX5" fmla="*/ 478807 w 540583"/>
                <a:gd name="connsiteY5" fmla="*/ 337534 h 441624"/>
                <a:gd name="connsiteX6" fmla="*/ 540531 w 540583"/>
                <a:gd name="connsiteY6" fmla="*/ 171355 h 441624"/>
                <a:gd name="connsiteX7" fmla="*/ 458354 w 540583"/>
                <a:gd name="connsiteY7" fmla="*/ 54116 h 441624"/>
                <a:gd name="connsiteX8" fmla="*/ 239946 w 540583"/>
                <a:gd name="connsiteY8" fmla="*/ 427 h 441624"/>
                <a:gd name="connsiteX9" fmla="*/ 239946 w 540583"/>
                <a:gd name="connsiteY9" fmla="*/ 792 h 441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0583" h="441624">
                  <a:moveTo>
                    <a:pt x="239946" y="792"/>
                  </a:moveTo>
                  <a:cubicBezTo>
                    <a:pt x="64271" y="4079"/>
                    <a:pt x="-25211" y="134466"/>
                    <a:pt x="6199" y="270697"/>
                  </a:cubicBezTo>
                  <a:cubicBezTo>
                    <a:pt x="31035" y="380266"/>
                    <a:pt x="220589" y="389762"/>
                    <a:pt x="352802" y="372231"/>
                  </a:cubicBezTo>
                  <a:cubicBezTo>
                    <a:pt x="366316" y="395241"/>
                    <a:pt x="387499" y="419711"/>
                    <a:pt x="420735" y="441625"/>
                  </a:cubicBezTo>
                  <a:cubicBezTo>
                    <a:pt x="420735" y="441625"/>
                    <a:pt x="409048" y="404737"/>
                    <a:pt x="406856" y="362735"/>
                  </a:cubicBezTo>
                  <a:cubicBezTo>
                    <a:pt x="442284" y="355065"/>
                    <a:pt x="468946" y="345935"/>
                    <a:pt x="478807" y="337534"/>
                  </a:cubicBezTo>
                  <a:cubicBezTo>
                    <a:pt x="522635" y="297359"/>
                    <a:pt x="539070" y="214817"/>
                    <a:pt x="540531" y="171355"/>
                  </a:cubicBezTo>
                  <a:cubicBezTo>
                    <a:pt x="541992" y="128257"/>
                    <a:pt x="512773" y="87352"/>
                    <a:pt x="458354" y="54116"/>
                  </a:cubicBezTo>
                  <a:cubicBezTo>
                    <a:pt x="404300" y="21245"/>
                    <a:pt x="325410" y="-3591"/>
                    <a:pt x="239946" y="427"/>
                  </a:cubicBezTo>
                  <a:lnTo>
                    <a:pt x="239946" y="792"/>
                  </a:lnTo>
                  <a:close/>
                </a:path>
              </a:pathLst>
            </a:custGeom>
            <a:solidFill>
              <a:srgbClr val="CCCCC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2" name="Freeform: Shape 2388">
              <a:extLst>
                <a:ext uri="{FF2B5EF4-FFF2-40B4-BE49-F238E27FC236}">
                  <a16:creationId xmlns:a16="http://schemas.microsoft.com/office/drawing/2014/main" id="{A0C1B9E0-183B-6300-F49D-B688BD1A6840}"/>
                </a:ext>
              </a:extLst>
            </p:cNvPr>
            <p:cNvSpPr/>
            <p:nvPr/>
          </p:nvSpPr>
          <p:spPr>
            <a:xfrm>
              <a:off x="9451872" y="1788083"/>
              <a:ext cx="162892" cy="188093"/>
            </a:xfrm>
            <a:custGeom>
              <a:avLst/>
              <a:gdLst>
                <a:gd name="connsiteX0" fmla="*/ 162893 w 162892"/>
                <a:gd name="connsiteY0" fmla="*/ 93499 h 188093"/>
                <a:gd name="connsiteX1" fmla="*/ 82177 w 162892"/>
                <a:gd name="connsiteY1" fmla="*/ 140614 h 188093"/>
                <a:gd name="connsiteX2" fmla="*/ 0 w 162892"/>
                <a:gd name="connsiteY2" fmla="*/ 188094 h 188093"/>
                <a:gd name="connsiteX3" fmla="*/ 0 w 162892"/>
                <a:gd name="connsiteY3" fmla="*/ 93499 h 188093"/>
                <a:gd name="connsiteX4" fmla="*/ 0 w 162892"/>
                <a:gd name="connsiteY4" fmla="*/ 0 h 188093"/>
                <a:gd name="connsiteX5" fmla="*/ 82177 w 162892"/>
                <a:gd name="connsiteY5" fmla="*/ 46749 h 188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892" h="188093">
                  <a:moveTo>
                    <a:pt x="162893" y="93499"/>
                  </a:moveTo>
                  <a:lnTo>
                    <a:pt x="82177" y="140614"/>
                  </a:lnTo>
                  <a:lnTo>
                    <a:pt x="0" y="188094"/>
                  </a:lnTo>
                  <a:lnTo>
                    <a:pt x="0" y="93499"/>
                  </a:lnTo>
                  <a:lnTo>
                    <a:pt x="0" y="0"/>
                  </a:lnTo>
                  <a:lnTo>
                    <a:pt x="82177" y="46749"/>
                  </a:lnTo>
                  <a:close/>
                </a:path>
              </a:pathLst>
            </a:custGeom>
            <a:solidFill>
              <a:schemeClr val="accent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3" name="Freeform: Shape 2390">
              <a:extLst>
                <a:ext uri="{FF2B5EF4-FFF2-40B4-BE49-F238E27FC236}">
                  <a16:creationId xmlns:a16="http://schemas.microsoft.com/office/drawing/2014/main" id="{37852D5F-FA83-077B-34BC-8F411865BA8E}"/>
                </a:ext>
              </a:extLst>
            </p:cNvPr>
            <p:cNvSpPr/>
            <p:nvPr/>
          </p:nvSpPr>
          <p:spPr>
            <a:xfrm>
              <a:off x="8571302" y="2023657"/>
              <a:ext cx="36523" cy="33235"/>
            </a:xfrm>
            <a:custGeom>
              <a:avLst/>
              <a:gdLst>
                <a:gd name="connsiteX0" fmla="*/ 0 w 36523"/>
                <a:gd name="connsiteY0" fmla="*/ 0 h 33235"/>
                <a:gd name="connsiteX1" fmla="*/ 36523 w 36523"/>
                <a:gd name="connsiteY1" fmla="*/ 0 h 33235"/>
                <a:gd name="connsiteX2" fmla="*/ 36523 w 36523"/>
                <a:gd name="connsiteY2" fmla="*/ 33236 h 33235"/>
                <a:gd name="connsiteX3" fmla="*/ 0 w 36523"/>
                <a:gd name="connsiteY3" fmla="*/ 33236 h 33235"/>
              </a:gdLst>
              <a:ahLst/>
              <a:cxnLst>
                <a:cxn ang="0">
                  <a:pos x="connsiteX0" y="connsiteY0"/>
                </a:cxn>
                <a:cxn ang="0">
                  <a:pos x="connsiteX1" y="connsiteY1"/>
                </a:cxn>
                <a:cxn ang="0">
                  <a:pos x="connsiteX2" y="connsiteY2"/>
                </a:cxn>
                <a:cxn ang="0">
                  <a:pos x="connsiteX3" y="connsiteY3"/>
                </a:cxn>
              </a:cxnLst>
              <a:rect l="l" t="t" r="r" b="b"/>
              <a:pathLst>
                <a:path w="36523" h="33235">
                  <a:moveTo>
                    <a:pt x="0" y="0"/>
                  </a:moveTo>
                  <a:lnTo>
                    <a:pt x="36523" y="0"/>
                  </a:lnTo>
                  <a:lnTo>
                    <a:pt x="36523" y="33236"/>
                  </a:lnTo>
                  <a:lnTo>
                    <a:pt x="0" y="33236"/>
                  </a:lnTo>
                  <a:close/>
                </a:path>
              </a:pathLst>
            </a:custGeom>
            <a:solidFill>
              <a:schemeClr val="accent4"/>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4" name="Freeform: Shape 2391">
              <a:extLst>
                <a:ext uri="{FF2B5EF4-FFF2-40B4-BE49-F238E27FC236}">
                  <a16:creationId xmlns:a16="http://schemas.microsoft.com/office/drawing/2014/main" id="{49706E8A-D4AA-BA27-43C6-4D530086765E}"/>
                </a:ext>
              </a:extLst>
            </p:cNvPr>
            <p:cNvSpPr/>
            <p:nvPr/>
          </p:nvSpPr>
          <p:spPr>
            <a:xfrm>
              <a:off x="8619878" y="2031692"/>
              <a:ext cx="172023" cy="16800"/>
            </a:xfrm>
            <a:custGeom>
              <a:avLst/>
              <a:gdLst>
                <a:gd name="connsiteX0" fmla="*/ 0 w 172023"/>
                <a:gd name="connsiteY0" fmla="*/ 0 h 16800"/>
                <a:gd name="connsiteX1" fmla="*/ 172023 w 172023"/>
                <a:gd name="connsiteY1" fmla="*/ 0 h 16800"/>
                <a:gd name="connsiteX2" fmla="*/ 172023 w 172023"/>
                <a:gd name="connsiteY2" fmla="*/ 16801 h 16800"/>
                <a:gd name="connsiteX3" fmla="*/ 0 w 172023"/>
                <a:gd name="connsiteY3" fmla="*/ 16801 h 16800"/>
              </a:gdLst>
              <a:ahLst/>
              <a:cxnLst>
                <a:cxn ang="0">
                  <a:pos x="connsiteX0" y="connsiteY0"/>
                </a:cxn>
                <a:cxn ang="0">
                  <a:pos x="connsiteX1" y="connsiteY1"/>
                </a:cxn>
                <a:cxn ang="0">
                  <a:pos x="connsiteX2" y="connsiteY2"/>
                </a:cxn>
                <a:cxn ang="0">
                  <a:pos x="connsiteX3" y="connsiteY3"/>
                </a:cxn>
              </a:cxnLst>
              <a:rect l="l" t="t" r="r" b="b"/>
              <a:pathLst>
                <a:path w="172023" h="16800">
                  <a:moveTo>
                    <a:pt x="0" y="0"/>
                  </a:moveTo>
                  <a:lnTo>
                    <a:pt x="172023" y="0"/>
                  </a:lnTo>
                  <a:lnTo>
                    <a:pt x="172023" y="16801"/>
                  </a:lnTo>
                  <a:lnTo>
                    <a:pt x="0" y="16801"/>
                  </a:lnTo>
                  <a:close/>
                </a:path>
              </a:pathLst>
            </a:custGeom>
            <a:solidFill>
              <a:srgbClr val="FFFF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5" name="Freeform: Shape 2392">
              <a:extLst>
                <a:ext uri="{FF2B5EF4-FFF2-40B4-BE49-F238E27FC236}">
                  <a16:creationId xmlns:a16="http://schemas.microsoft.com/office/drawing/2014/main" id="{976471D4-FB19-7EAC-C5F5-6CEBB7BF09F2}"/>
                </a:ext>
              </a:extLst>
            </p:cNvPr>
            <p:cNvSpPr/>
            <p:nvPr/>
          </p:nvSpPr>
          <p:spPr>
            <a:xfrm>
              <a:off x="8784962" y="1747543"/>
              <a:ext cx="27757" cy="232286"/>
            </a:xfrm>
            <a:custGeom>
              <a:avLst/>
              <a:gdLst>
                <a:gd name="connsiteX0" fmla="*/ 0 w 27757"/>
                <a:gd name="connsiteY0" fmla="*/ 0 h 232286"/>
                <a:gd name="connsiteX1" fmla="*/ 27758 w 27757"/>
                <a:gd name="connsiteY1" fmla="*/ 0 h 232286"/>
                <a:gd name="connsiteX2" fmla="*/ 27758 w 27757"/>
                <a:gd name="connsiteY2" fmla="*/ 232286 h 232286"/>
                <a:gd name="connsiteX3" fmla="*/ 0 w 27757"/>
                <a:gd name="connsiteY3" fmla="*/ 232286 h 232286"/>
              </a:gdLst>
              <a:ahLst/>
              <a:cxnLst>
                <a:cxn ang="0">
                  <a:pos x="connsiteX0" y="connsiteY0"/>
                </a:cxn>
                <a:cxn ang="0">
                  <a:pos x="connsiteX1" y="connsiteY1"/>
                </a:cxn>
                <a:cxn ang="0">
                  <a:pos x="connsiteX2" y="connsiteY2"/>
                </a:cxn>
                <a:cxn ang="0">
                  <a:pos x="connsiteX3" y="connsiteY3"/>
                </a:cxn>
              </a:cxnLst>
              <a:rect l="l" t="t" r="r" b="b"/>
              <a:pathLst>
                <a:path w="27757" h="232286">
                  <a:moveTo>
                    <a:pt x="0" y="0"/>
                  </a:moveTo>
                  <a:lnTo>
                    <a:pt x="27758" y="0"/>
                  </a:lnTo>
                  <a:lnTo>
                    <a:pt x="27758" y="232286"/>
                  </a:lnTo>
                  <a:lnTo>
                    <a:pt x="0" y="232286"/>
                  </a:lnTo>
                  <a:close/>
                </a:path>
              </a:pathLst>
            </a:custGeom>
            <a:solidFill>
              <a:schemeClr val="accent4"/>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6" name="Freeform: Shape 2393">
              <a:extLst>
                <a:ext uri="{FF2B5EF4-FFF2-40B4-BE49-F238E27FC236}">
                  <a16:creationId xmlns:a16="http://schemas.microsoft.com/office/drawing/2014/main" id="{692F34B5-0105-768D-D35F-CE317DEC46B3}"/>
                </a:ext>
              </a:extLst>
            </p:cNvPr>
            <p:cNvSpPr/>
            <p:nvPr/>
          </p:nvSpPr>
          <p:spPr>
            <a:xfrm>
              <a:off x="8732369" y="1837024"/>
              <a:ext cx="27757" cy="142074"/>
            </a:xfrm>
            <a:custGeom>
              <a:avLst/>
              <a:gdLst>
                <a:gd name="connsiteX0" fmla="*/ 0 w 27757"/>
                <a:gd name="connsiteY0" fmla="*/ 0 h 142074"/>
                <a:gd name="connsiteX1" fmla="*/ 27757 w 27757"/>
                <a:gd name="connsiteY1" fmla="*/ 0 h 142074"/>
                <a:gd name="connsiteX2" fmla="*/ 27757 w 27757"/>
                <a:gd name="connsiteY2" fmla="*/ 142075 h 142074"/>
                <a:gd name="connsiteX3" fmla="*/ 0 w 27757"/>
                <a:gd name="connsiteY3" fmla="*/ 142075 h 142074"/>
              </a:gdLst>
              <a:ahLst/>
              <a:cxnLst>
                <a:cxn ang="0">
                  <a:pos x="connsiteX0" y="connsiteY0"/>
                </a:cxn>
                <a:cxn ang="0">
                  <a:pos x="connsiteX1" y="connsiteY1"/>
                </a:cxn>
                <a:cxn ang="0">
                  <a:pos x="connsiteX2" y="connsiteY2"/>
                </a:cxn>
                <a:cxn ang="0">
                  <a:pos x="connsiteX3" y="connsiteY3"/>
                </a:cxn>
              </a:cxnLst>
              <a:rect l="l" t="t" r="r" b="b"/>
              <a:pathLst>
                <a:path w="27757" h="142074">
                  <a:moveTo>
                    <a:pt x="0" y="0"/>
                  </a:moveTo>
                  <a:lnTo>
                    <a:pt x="27757" y="0"/>
                  </a:lnTo>
                  <a:lnTo>
                    <a:pt x="27757" y="142075"/>
                  </a:lnTo>
                  <a:lnTo>
                    <a:pt x="0" y="142075"/>
                  </a:lnTo>
                  <a:close/>
                </a:path>
              </a:pathLst>
            </a:custGeom>
            <a:solidFill>
              <a:srgbClr val="FFFF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7" name="Freeform: Shape 2394">
              <a:extLst>
                <a:ext uri="{FF2B5EF4-FFF2-40B4-BE49-F238E27FC236}">
                  <a16:creationId xmlns:a16="http://schemas.microsoft.com/office/drawing/2014/main" id="{E6A587A6-ECED-F579-3B57-6C3144329AB3}"/>
                </a:ext>
              </a:extLst>
            </p:cNvPr>
            <p:cNvSpPr/>
            <p:nvPr/>
          </p:nvSpPr>
          <p:spPr>
            <a:xfrm>
              <a:off x="8678680" y="1860033"/>
              <a:ext cx="27757" cy="119065"/>
            </a:xfrm>
            <a:custGeom>
              <a:avLst/>
              <a:gdLst>
                <a:gd name="connsiteX0" fmla="*/ 0 w 27757"/>
                <a:gd name="connsiteY0" fmla="*/ 0 h 119065"/>
                <a:gd name="connsiteX1" fmla="*/ 27758 w 27757"/>
                <a:gd name="connsiteY1" fmla="*/ 0 h 119065"/>
                <a:gd name="connsiteX2" fmla="*/ 27758 w 27757"/>
                <a:gd name="connsiteY2" fmla="*/ 119065 h 119065"/>
                <a:gd name="connsiteX3" fmla="*/ 0 w 27757"/>
                <a:gd name="connsiteY3" fmla="*/ 119065 h 119065"/>
              </a:gdLst>
              <a:ahLst/>
              <a:cxnLst>
                <a:cxn ang="0">
                  <a:pos x="connsiteX0" y="connsiteY0"/>
                </a:cxn>
                <a:cxn ang="0">
                  <a:pos x="connsiteX1" y="connsiteY1"/>
                </a:cxn>
                <a:cxn ang="0">
                  <a:pos x="connsiteX2" y="connsiteY2"/>
                </a:cxn>
                <a:cxn ang="0">
                  <a:pos x="connsiteX3" y="connsiteY3"/>
                </a:cxn>
              </a:cxnLst>
              <a:rect l="l" t="t" r="r" b="b"/>
              <a:pathLst>
                <a:path w="27757" h="119065">
                  <a:moveTo>
                    <a:pt x="0" y="0"/>
                  </a:moveTo>
                  <a:lnTo>
                    <a:pt x="27758" y="0"/>
                  </a:lnTo>
                  <a:lnTo>
                    <a:pt x="27758" y="119065"/>
                  </a:lnTo>
                  <a:lnTo>
                    <a:pt x="0" y="119065"/>
                  </a:lnTo>
                  <a:close/>
                </a:path>
              </a:pathLst>
            </a:custGeom>
            <a:solidFill>
              <a:schemeClr val="accent2">
                <a:lumMod val="75000"/>
              </a:schemeClr>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8" name="Freeform: Shape 2395">
              <a:extLst>
                <a:ext uri="{FF2B5EF4-FFF2-40B4-BE49-F238E27FC236}">
                  <a16:creationId xmlns:a16="http://schemas.microsoft.com/office/drawing/2014/main" id="{EB6B68F6-6EBE-55DA-A401-7EEBF8597715}"/>
                </a:ext>
              </a:extLst>
            </p:cNvPr>
            <p:cNvSpPr/>
            <p:nvPr/>
          </p:nvSpPr>
          <p:spPr>
            <a:xfrm>
              <a:off x="8625356" y="1795388"/>
              <a:ext cx="27757" cy="183345"/>
            </a:xfrm>
            <a:custGeom>
              <a:avLst/>
              <a:gdLst>
                <a:gd name="connsiteX0" fmla="*/ 0 w 27757"/>
                <a:gd name="connsiteY0" fmla="*/ 0 h 183345"/>
                <a:gd name="connsiteX1" fmla="*/ 27757 w 27757"/>
                <a:gd name="connsiteY1" fmla="*/ 0 h 183345"/>
                <a:gd name="connsiteX2" fmla="*/ 27757 w 27757"/>
                <a:gd name="connsiteY2" fmla="*/ 183346 h 183345"/>
                <a:gd name="connsiteX3" fmla="*/ 0 w 27757"/>
                <a:gd name="connsiteY3" fmla="*/ 183346 h 183345"/>
              </a:gdLst>
              <a:ahLst/>
              <a:cxnLst>
                <a:cxn ang="0">
                  <a:pos x="connsiteX0" y="connsiteY0"/>
                </a:cxn>
                <a:cxn ang="0">
                  <a:pos x="connsiteX1" y="connsiteY1"/>
                </a:cxn>
                <a:cxn ang="0">
                  <a:pos x="connsiteX2" y="connsiteY2"/>
                </a:cxn>
                <a:cxn ang="0">
                  <a:pos x="connsiteX3" y="connsiteY3"/>
                </a:cxn>
              </a:cxnLst>
              <a:rect l="l" t="t" r="r" b="b"/>
              <a:pathLst>
                <a:path w="27757" h="183345">
                  <a:moveTo>
                    <a:pt x="0" y="0"/>
                  </a:moveTo>
                  <a:lnTo>
                    <a:pt x="27757" y="0"/>
                  </a:lnTo>
                  <a:lnTo>
                    <a:pt x="27757" y="183346"/>
                  </a:lnTo>
                  <a:lnTo>
                    <a:pt x="0" y="183346"/>
                  </a:lnTo>
                  <a:close/>
                </a:path>
              </a:pathLst>
            </a:custGeom>
            <a:solidFill>
              <a:schemeClr val="accent4"/>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9" name="Freeform: Shape 2396">
              <a:extLst>
                <a:ext uri="{FF2B5EF4-FFF2-40B4-BE49-F238E27FC236}">
                  <a16:creationId xmlns:a16="http://schemas.microsoft.com/office/drawing/2014/main" id="{0EEA4987-6B62-539A-651A-7FDEB73885C2}"/>
                </a:ext>
              </a:extLst>
            </p:cNvPr>
            <p:cNvSpPr/>
            <p:nvPr/>
          </p:nvSpPr>
          <p:spPr>
            <a:xfrm>
              <a:off x="8572398" y="1818397"/>
              <a:ext cx="27757" cy="160336"/>
            </a:xfrm>
            <a:custGeom>
              <a:avLst/>
              <a:gdLst>
                <a:gd name="connsiteX0" fmla="*/ 0 w 27757"/>
                <a:gd name="connsiteY0" fmla="*/ 0 h 160336"/>
                <a:gd name="connsiteX1" fmla="*/ 27757 w 27757"/>
                <a:gd name="connsiteY1" fmla="*/ 0 h 160336"/>
                <a:gd name="connsiteX2" fmla="*/ 27757 w 27757"/>
                <a:gd name="connsiteY2" fmla="*/ 160336 h 160336"/>
                <a:gd name="connsiteX3" fmla="*/ 0 w 27757"/>
                <a:gd name="connsiteY3" fmla="*/ 160336 h 160336"/>
              </a:gdLst>
              <a:ahLst/>
              <a:cxnLst>
                <a:cxn ang="0">
                  <a:pos x="connsiteX0" y="connsiteY0"/>
                </a:cxn>
                <a:cxn ang="0">
                  <a:pos x="connsiteX1" y="connsiteY1"/>
                </a:cxn>
                <a:cxn ang="0">
                  <a:pos x="connsiteX2" y="connsiteY2"/>
                </a:cxn>
                <a:cxn ang="0">
                  <a:pos x="connsiteX3" y="connsiteY3"/>
                </a:cxn>
              </a:cxnLst>
              <a:rect l="l" t="t" r="r" b="b"/>
              <a:pathLst>
                <a:path w="27757" h="160336">
                  <a:moveTo>
                    <a:pt x="0" y="0"/>
                  </a:moveTo>
                  <a:lnTo>
                    <a:pt x="27757" y="0"/>
                  </a:lnTo>
                  <a:lnTo>
                    <a:pt x="27757" y="160336"/>
                  </a:lnTo>
                  <a:lnTo>
                    <a:pt x="0" y="160336"/>
                  </a:lnTo>
                  <a:close/>
                </a:path>
              </a:pathLst>
            </a:custGeom>
            <a:solidFill>
              <a:srgbClr val="FFFF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0" name="Freeform: Shape 2398">
              <a:extLst>
                <a:ext uri="{FF2B5EF4-FFF2-40B4-BE49-F238E27FC236}">
                  <a16:creationId xmlns:a16="http://schemas.microsoft.com/office/drawing/2014/main" id="{C923FF7A-7D7A-172B-A0B0-E7B5DD045C32}"/>
                </a:ext>
              </a:extLst>
            </p:cNvPr>
            <p:cNvSpPr/>
            <p:nvPr/>
          </p:nvSpPr>
          <p:spPr>
            <a:xfrm>
              <a:off x="10278388" y="1761787"/>
              <a:ext cx="57341" cy="97151"/>
            </a:xfrm>
            <a:custGeom>
              <a:avLst/>
              <a:gdLst>
                <a:gd name="connsiteX0" fmla="*/ 57341 w 57341"/>
                <a:gd name="connsiteY0" fmla="*/ 97151 h 97151"/>
                <a:gd name="connsiteX1" fmla="*/ 0 w 57341"/>
                <a:gd name="connsiteY1" fmla="*/ 18262 h 97151"/>
                <a:gd name="connsiteX2" fmla="*/ 56976 w 57341"/>
                <a:gd name="connsiteY2" fmla="*/ 0 h 97151"/>
                <a:gd name="connsiteX3" fmla="*/ 56976 w 57341"/>
                <a:gd name="connsiteY3" fmla="*/ 97151 h 97151"/>
              </a:gdLst>
              <a:ahLst/>
              <a:cxnLst>
                <a:cxn ang="0">
                  <a:pos x="connsiteX0" y="connsiteY0"/>
                </a:cxn>
                <a:cxn ang="0">
                  <a:pos x="connsiteX1" y="connsiteY1"/>
                </a:cxn>
                <a:cxn ang="0">
                  <a:pos x="connsiteX2" y="connsiteY2"/>
                </a:cxn>
                <a:cxn ang="0">
                  <a:pos x="connsiteX3" y="connsiteY3"/>
                </a:cxn>
              </a:cxnLst>
              <a:rect l="l" t="t" r="r" b="b"/>
              <a:pathLst>
                <a:path w="57341" h="97151">
                  <a:moveTo>
                    <a:pt x="57341" y="97151"/>
                  </a:moveTo>
                  <a:lnTo>
                    <a:pt x="0" y="18262"/>
                  </a:lnTo>
                  <a:cubicBezTo>
                    <a:pt x="17531" y="5478"/>
                    <a:pt x="35793" y="0"/>
                    <a:pt x="56976" y="0"/>
                  </a:cubicBezTo>
                  <a:lnTo>
                    <a:pt x="56976" y="97151"/>
                  </a:lnTo>
                  <a:close/>
                </a:path>
              </a:pathLst>
            </a:custGeom>
            <a:solidFill>
              <a:schemeClr val="accent4"/>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1" name="Freeform: Shape 2399">
              <a:extLst>
                <a:ext uri="{FF2B5EF4-FFF2-40B4-BE49-F238E27FC236}">
                  <a16:creationId xmlns:a16="http://schemas.microsoft.com/office/drawing/2014/main" id="{25026DFB-30F5-FBCD-83F4-A693CAECE9A0}"/>
                </a:ext>
              </a:extLst>
            </p:cNvPr>
            <p:cNvSpPr/>
            <p:nvPr/>
          </p:nvSpPr>
          <p:spPr>
            <a:xfrm>
              <a:off x="10319659" y="1761787"/>
              <a:ext cx="16070" cy="97151"/>
            </a:xfrm>
            <a:custGeom>
              <a:avLst/>
              <a:gdLst>
                <a:gd name="connsiteX0" fmla="*/ 16070 w 16070"/>
                <a:gd name="connsiteY0" fmla="*/ 97151 h 97151"/>
                <a:gd name="connsiteX1" fmla="*/ 0 w 16070"/>
                <a:gd name="connsiteY1" fmla="*/ 1096 h 97151"/>
                <a:gd name="connsiteX2" fmla="*/ 16070 w 16070"/>
                <a:gd name="connsiteY2" fmla="*/ 0 h 97151"/>
                <a:gd name="connsiteX3" fmla="*/ 16070 w 16070"/>
                <a:gd name="connsiteY3" fmla="*/ 97151 h 97151"/>
              </a:gdLst>
              <a:ahLst/>
              <a:cxnLst>
                <a:cxn ang="0">
                  <a:pos x="connsiteX0" y="connsiteY0"/>
                </a:cxn>
                <a:cxn ang="0">
                  <a:pos x="connsiteX1" y="connsiteY1"/>
                </a:cxn>
                <a:cxn ang="0">
                  <a:pos x="connsiteX2" y="connsiteY2"/>
                </a:cxn>
                <a:cxn ang="0">
                  <a:pos x="connsiteX3" y="connsiteY3"/>
                </a:cxn>
              </a:cxnLst>
              <a:rect l="l" t="t" r="r" b="b"/>
              <a:pathLst>
                <a:path w="16070" h="97151">
                  <a:moveTo>
                    <a:pt x="16070" y="97151"/>
                  </a:moveTo>
                  <a:lnTo>
                    <a:pt x="0" y="1096"/>
                  </a:lnTo>
                  <a:cubicBezTo>
                    <a:pt x="5113" y="365"/>
                    <a:pt x="10592" y="0"/>
                    <a:pt x="16070" y="0"/>
                  </a:cubicBezTo>
                  <a:lnTo>
                    <a:pt x="16070" y="97151"/>
                  </a:lnTo>
                  <a:close/>
                </a:path>
              </a:pathLst>
            </a:custGeom>
            <a:solidFill>
              <a:schemeClr val="accent4"/>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2" name="Freeform: Shape 2400">
              <a:extLst>
                <a:ext uri="{FF2B5EF4-FFF2-40B4-BE49-F238E27FC236}">
                  <a16:creationId xmlns:a16="http://schemas.microsoft.com/office/drawing/2014/main" id="{C4A97F3F-AB9C-CEEB-8A16-C599E396CC03}"/>
                </a:ext>
              </a:extLst>
            </p:cNvPr>
            <p:cNvSpPr/>
            <p:nvPr/>
          </p:nvSpPr>
          <p:spPr>
            <a:xfrm>
              <a:off x="10238578" y="1761787"/>
              <a:ext cx="194302" cy="194302"/>
            </a:xfrm>
            <a:custGeom>
              <a:avLst/>
              <a:gdLst>
                <a:gd name="connsiteX0" fmla="*/ 97151 w 194302"/>
                <a:gd name="connsiteY0" fmla="*/ 97151 h 194302"/>
                <a:gd name="connsiteX1" fmla="*/ 97151 w 194302"/>
                <a:gd name="connsiteY1" fmla="*/ 0 h 194302"/>
                <a:gd name="connsiteX2" fmla="*/ 194302 w 194302"/>
                <a:gd name="connsiteY2" fmla="*/ 97151 h 194302"/>
                <a:gd name="connsiteX3" fmla="*/ 97151 w 194302"/>
                <a:gd name="connsiteY3" fmla="*/ 194302 h 194302"/>
                <a:gd name="connsiteX4" fmla="*/ 0 w 194302"/>
                <a:gd name="connsiteY4" fmla="*/ 97151 h 194302"/>
                <a:gd name="connsiteX5" fmla="*/ 40175 w 194302"/>
                <a:gd name="connsiteY5" fmla="*/ 18262 h 194302"/>
                <a:gd name="connsiteX6" fmla="*/ 97151 w 194302"/>
                <a:gd name="connsiteY6" fmla="*/ 97151 h 19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302" h="194302">
                  <a:moveTo>
                    <a:pt x="97151" y="97151"/>
                  </a:moveTo>
                  <a:lnTo>
                    <a:pt x="97151" y="0"/>
                  </a:lnTo>
                  <a:cubicBezTo>
                    <a:pt x="150840" y="0"/>
                    <a:pt x="194302" y="43462"/>
                    <a:pt x="194302" y="97151"/>
                  </a:cubicBezTo>
                  <a:cubicBezTo>
                    <a:pt x="194302" y="150840"/>
                    <a:pt x="150840" y="194302"/>
                    <a:pt x="97151" y="194302"/>
                  </a:cubicBezTo>
                  <a:cubicBezTo>
                    <a:pt x="43462" y="194302"/>
                    <a:pt x="0" y="150840"/>
                    <a:pt x="0" y="97151"/>
                  </a:cubicBezTo>
                  <a:cubicBezTo>
                    <a:pt x="0" y="65011"/>
                    <a:pt x="13879" y="37253"/>
                    <a:pt x="40175" y="18262"/>
                  </a:cubicBezTo>
                  <a:lnTo>
                    <a:pt x="97151" y="97151"/>
                  </a:lnTo>
                  <a:close/>
                </a:path>
              </a:pathLst>
            </a:custGeom>
            <a:solidFill>
              <a:schemeClr val="accent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3" name="Freeform: Shape 2401">
              <a:extLst>
                <a:ext uri="{FF2B5EF4-FFF2-40B4-BE49-F238E27FC236}">
                  <a16:creationId xmlns:a16="http://schemas.microsoft.com/office/drawing/2014/main" id="{863765D1-60B5-7F80-BD71-CDD3FE03B20A}"/>
                </a:ext>
              </a:extLst>
            </p:cNvPr>
            <p:cNvSpPr/>
            <p:nvPr/>
          </p:nvSpPr>
          <p:spPr>
            <a:xfrm>
              <a:off x="10335730" y="1761787"/>
              <a:ext cx="97130" cy="127100"/>
            </a:xfrm>
            <a:custGeom>
              <a:avLst/>
              <a:gdLst>
                <a:gd name="connsiteX0" fmla="*/ 0 w 97130"/>
                <a:gd name="connsiteY0" fmla="*/ 97151 h 127100"/>
                <a:gd name="connsiteX1" fmla="*/ 92403 w 97130"/>
                <a:gd name="connsiteY1" fmla="*/ 127100 h 127100"/>
                <a:gd name="connsiteX2" fmla="*/ 29949 w 97130"/>
                <a:gd name="connsiteY2" fmla="*/ 4748 h 127100"/>
                <a:gd name="connsiteX3" fmla="*/ 0 w 97130"/>
                <a:gd name="connsiteY3" fmla="*/ 0 h 127100"/>
                <a:gd name="connsiteX4" fmla="*/ 0 w 97130"/>
                <a:gd name="connsiteY4" fmla="*/ 97151 h 127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30" h="127100">
                  <a:moveTo>
                    <a:pt x="0" y="97151"/>
                  </a:moveTo>
                  <a:lnTo>
                    <a:pt x="92403" y="127100"/>
                  </a:lnTo>
                  <a:cubicBezTo>
                    <a:pt x="108839" y="75968"/>
                    <a:pt x="81081" y="21183"/>
                    <a:pt x="29949" y="4748"/>
                  </a:cubicBezTo>
                  <a:cubicBezTo>
                    <a:pt x="19723" y="1461"/>
                    <a:pt x="10592" y="0"/>
                    <a:pt x="0" y="0"/>
                  </a:cubicBezTo>
                  <a:lnTo>
                    <a:pt x="0" y="97151"/>
                  </a:lnTo>
                  <a:close/>
                </a:path>
              </a:pathLst>
            </a:custGeom>
            <a:solidFill>
              <a:srgbClr val="FFFF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84" name="Group 383">
            <a:extLst>
              <a:ext uri="{FF2B5EF4-FFF2-40B4-BE49-F238E27FC236}">
                <a16:creationId xmlns:a16="http://schemas.microsoft.com/office/drawing/2014/main" id="{3D0283CD-2C94-6AA0-8194-82B42704AC85}"/>
              </a:ext>
            </a:extLst>
          </p:cNvPr>
          <p:cNvGrpSpPr/>
          <p:nvPr/>
        </p:nvGrpSpPr>
        <p:grpSpPr>
          <a:xfrm>
            <a:off x="5467615" y="2201728"/>
            <a:ext cx="1044924" cy="881376"/>
            <a:chOff x="4467327" y="1927561"/>
            <a:chExt cx="1625360" cy="1349931"/>
          </a:xfrm>
        </p:grpSpPr>
        <p:sp>
          <p:nvSpPr>
            <p:cNvPr id="385" name="Freeform: Shape 2191">
              <a:extLst>
                <a:ext uri="{FF2B5EF4-FFF2-40B4-BE49-F238E27FC236}">
                  <a16:creationId xmlns:a16="http://schemas.microsoft.com/office/drawing/2014/main" id="{CEC16481-320D-8661-1A47-A571166AEABB}"/>
                </a:ext>
              </a:extLst>
            </p:cNvPr>
            <p:cNvSpPr/>
            <p:nvPr/>
          </p:nvSpPr>
          <p:spPr>
            <a:xfrm>
              <a:off x="5565799" y="2186168"/>
              <a:ext cx="328458" cy="276995"/>
            </a:xfrm>
            <a:custGeom>
              <a:avLst/>
              <a:gdLst>
                <a:gd name="connsiteX0" fmla="*/ 224790 w 923925"/>
                <a:gd name="connsiteY0" fmla="*/ 388978 h 762358"/>
                <a:gd name="connsiteX1" fmla="*/ 307658 w 923925"/>
                <a:gd name="connsiteY1" fmla="*/ 762358 h 762358"/>
                <a:gd name="connsiteX2" fmla="*/ 309563 w 923925"/>
                <a:gd name="connsiteY2" fmla="*/ 758548 h 762358"/>
                <a:gd name="connsiteX3" fmla="*/ 727710 w 923925"/>
                <a:gd name="connsiteY3" fmla="*/ 758548 h 762358"/>
                <a:gd name="connsiteX4" fmla="*/ 726757 w 923925"/>
                <a:gd name="connsiteY4" fmla="*/ 743308 h 762358"/>
                <a:gd name="connsiteX5" fmla="*/ 726757 w 923925"/>
                <a:gd name="connsiteY5" fmla="*/ 743308 h 762358"/>
                <a:gd name="connsiteX6" fmla="*/ 726757 w 923925"/>
                <a:gd name="connsiteY6" fmla="*/ 741403 h 762358"/>
                <a:gd name="connsiteX7" fmla="*/ 726757 w 923925"/>
                <a:gd name="connsiteY7" fmla="*/ 741403 h 762358"/>
                <a:gd name="connsiteX8" fmla="*/ 698182 w 923925"/>
                <a:gd name="connsiteY8" fmla="*/ 353736 h 762358"/>
                <a:gd name="connsiteX9" fmla="*/ 769620 w 923925"/>
                <a:gd name="connsiteY9" fmla="*/ 438508 h 762358"/>
                <a:gd name="connsiteX10" fmla="*/ 923925 w 923925"/>
                <a:gd name="connsiteY10" fmla="*/ 324208 h 762358"/>
                <a:gd name="connsiteX11" fmla="*/ 749618 w 923925"/>
                <a:gd name="connsiteY11" fmla="*/ 53698 h 762358"/>
                <a:gd name="connsiteX12" fmla="*/ 749618 w 923925"/>
                <a:gd name="connsiteY12" fmla="*/ 53698 h 762358"/>
                <a:gd name="connsiteX13" fmla="*/ 749618 w 923925"/>
                <a:gd name="connsiteY13" fmla="*/ 53698 h 762358"/>
                <a:gd name="connsiteX14" fmla="*/ 741045 w 923925"/>
                <a:gd name="connsiteY14" fmla="*/ 41316 h 762358"/>
                <a:gd name="connsiteX15" fmla="*/ 642938 w 923925"/>
                <a:gd name="connsiteY15" fmla="*/ 358 h 762358"/>
                <a:gd name="connsiteX16" fmla="*/ 642938 w 923925"/>
                <a:gd name="connsiteY16" fmla="*/ 358 h 762358"/>
                <a:gd name="connsiteX17" fmla="*/ 495300 w 923925"/>
                <a:gd name="connsiteY17" fmla="*/ 10836 h 762358"/>
                <a:gd name="connsiteX18" fmla="*/ 495300 w 923925"/>
                <a:gd name="connsiteY18" fmla="*/ 10836 h 762358"/>
                <a:gd name="connsiteX19" fmla="*/ 415290 w 923925"/>
                <a:gd name="connsiteY19" fmla="*/ 126088 h 762358"/>
                <a:gd name="connsiteX20" fmla="*/ 300990 w 923925"/>
                <a:gd name="connsiteY20" fmla="*/ 46078 h 762358"/>
                <a:gd name="connsiteX21" fmla="*/ 297180 w 923925"/>
                <a:gd name="connsiteY21" fmla="*/ 26076 h 762358"/>
                <a:gd name="connsiteX22" fmla="*/ 236220 w 923925"/>
                <a:gd name="connsiteY22" fmla="*/ 30838 h 762358"/>
                <a:gd name="connsiteX23" fmla="*/ 236220 w 923925"/>
                <a:gd name="connsiteY23" fmla="*/ 30838 h 762358"/>
                <a:gd name="connsiteX24" fmla="*/ 146685 w 923925"/>
                <a:gd name="connsiteY24" fmla="*/ 83226 h 762358"/>
                <a:gd name="connsiteX25" fmla="*/ 139065 w 923925"/>
                <a:gd name="connsiteY25" fmla="*/ 96561 h 762358"/>
                <a:gd name="connsiteX26" fmla="*/ 139065 w 923925"/>
                <a:gd name="connsiteY26" fmla="*/ 96561 h 762358"/>
                <a:gd name="connsiteX27" fmla="*/ 139065 w 923925"/>
                <a:gd name="connsiteY27" fmla="*/ 96561 h 762358"/>
                <a:gd name="connsiteX28" fmla="*/ 0 w 923925"/>
                <a:gd name="connsiteY28" fmla="*/ 386121 h 762358"/>
                <a:gd name="connsiteX29" fmla="*/ 167640 w 923925"/>
                <a:gd name="connsiteY29" fmla="*/ 480418 h 762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23925" h="762358">
                  <a:moveTo>
                    <a:pt x="224790" y="388978"/>
                  </a:moveTo>
                  <a:lnTo>
                    <a:pt x="307658" y="762358"/>
                  </a:lnTo>
                  <a:cubicBezTo>
                    <a:pt x="308610" y="761406"/>
                    <a:pt x="308610" y="759501"/>
                    <a:pt x="309563" y="758548"/>
                  </a:cubicBezTo>
                  <a:lnTo>
                    <a:pt x="727710" y="758548"/>
                  </a:lnTo>
                  <a:cubicBezTo>
                    <a:pt x="727710" y="753786"/>
                    <a:pt x="727710" y="748071"/>
                    <a:pt x="726757" y="743308"/>
                  </a:cubicBezTo>
                  <a:lnTo>
                    <a:pt x="726757" y="743308"/>
                  </a:lnTo>
                  <a:lnTo>
                    <a:pt x="726757" y="741403"/>
                  </a:lnTo>
                  <a:cubicBezTo>
                    <a:pt x="726757" y="741403"/>
                    <a:pt x="726757" y="741403"/>
                    <a:pt x="726757" y="741403"/>
                  </a:cubicBezTo>
                  <a:lnTo>
                    <a:pt x="698182" y="353736"/>
                  </a:lnTo>
                  <a:lnTo>
                    <a:pt x="769620" y="438508"/>
                  </a:lnTo>
                  <a:lnTo>
                    <a:pt x="923925" y="324208"/>
                  </a:lnTo>
                  <a:lnTo>
                    <a:pt x="749618" y="53698"/>
                  </a:lnTo>
                  <a:lnTo>
                    <a:pt x="749618" y="53698"/>
                  </a:lnTo>
                  <a:lnTo>
                    <a:pt x="749618" y="53698"/>
                  </a:lnTo>
                  <a:cubicBezTo>
                    <a:pt x="746760" y="49888"/>
                    <a:pt x="743903" y="45126"/>
                    <a:pt x="741045" y="41316"/>
                  </a:cubicBezTo>
                  <a:cubicBezTo>
                    <a:pt x="716280" y="11788"/>
                    <a:pt x="679132" y="-2499"/>
                    <a:pt x="642938" y="358"/>
                  </a:cubicBezTo>
                  <a:lnTo>
                    <a:pt x="642938" y="358"/>
                  </a:lnTo>
                  <a:lnTo>
                    <a:pt x="495300" y="10836"/>
                  </a:lnTo>
                  <a:lnTo>
                    <a:pt x="495300" y="10836"/>
                  </a:lnTo>
                  <a:cubicBezTo>
                    <a:pt x="504825" y="64176"/>
                    <a:pt x="468630" y="115611"/>
                    <a:pt x="415290" y="126088"/>
                  </a:cubicBezTo>
                  <a:cubicBezTo>
                    <a:pt x="361950" y="136566"/>
                    <a:pt x="310515" y="99418"/>
                    <a:pt x="300990" y="46078"/>
                  </a:cubicBezTo>
                  <a:lnTo>
                    <a:pt x="297180" y="26076"/>
                  </a:lnTo>
                  <a:lnTo>
                    <a:pt x="236220" y="30838"/>
                  </a:lnTo>
                  <a:lnTo>
                    <a:pt x="236220" y="30838"/>
                  </a:lnTo>
                  <a:cubicBezTo>
                    <a:pt x="200978" y="33696"/>
                    <a:pt x="167640" y="51793"/>
                    <a:pt x="146685" y="83226"/>
                  </a:cubicBezTo>
                  <a:cubicBezTo>
                    <a:pt x="143828" y="87988"/>
                    <a:pt x="140970" y="91798"/>
                    <a:pt x="139065" y="96561"/>
                  </a:cubicBezTo>
                  <a:lnTo>
                    <a:pt x="139065" y="96561"/>
                  </a:lnTo>
                  <a:lnTo>
                    <a:pt x="139065" y="96561"/>
                  </a:lnTo>
                  <a:lnTo>
                    <a:pt x="0" y="386121"/>
                  </a:lnTo>
                  <a:lnTo>
                    <a:pt x="167640" y="480418"/>
                  </a:lnTo>
                </a:path>
              </a:pathLst>
            </a:custGeom>
            <a:solidFill>
              <a:schemeClr val="accent2">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6" name="Freeform: Shape 2192">
              <a:extLst>
                <a:ext uri="{FF2B5EF4-FFF2-40B4-BE49-F238E27FC236}">
                  <a16:creationId xmlns:a16="http://schemas.microsoft.com/office/drawing/2014/main" id="{8DC4AD61-9760-AAFB-D002-49DF55BF177B}"/>
                </a:ext>
              </a:extLst>
            </p:cNvPr>
            <p:cNvSpPr/>
            <p:nvPr/>
          </p:nvSpPr>
          <p:spPr>
            <a:xfrm>
              <a:off x="5082932" y="2780519"/>
              <a:ext cx="156441" cy="494204"/>
            </a:xfrm>
            <a:custGeom>
              <a:avLst/>
              <a:gdLst>
                <a:gd name="connsiteX0" fmla="*/ 0 w 440054"/>
                <a:gd name="connsiteY0" fmla="*/ 0 h 1360170"/>
                <a:gd name="connsiteX1" fmla="*/ 394335 w 440054"/>
                <a:gd name="connsiteY1" fmla="*/ 1360170 h 1360170"/>
                <a:gd name="connsiteX2" fmla="*/ 440055 w 440054"/>
                <a:gd name="connsiteY2" fmla="*/ 1360170 h 1360170"/>
                <a:gd name="connsiteX3" fmla="*/ 117157 w 440054"/>
                <a:gd name="connsiteY3" fmla="*/ 0 h 1360170"/>
              </a:gdLst>
              <a:ahLst/>
              <a:cxnLst>
                <a:cxn ang="0">
                  <a:pos x="connsiteX0" y="connsiteY0"/>
                </a:cxn>
                <a:cxn ang="0">
                  <a:pos x="connsiteX1" y="connsiteY1"/>
                </a:cxn>
                <a:cxn ang="0">
                  <a:pos x="connsiteX2" y="connsiteY2"/>
                </a:cxn>
                <a:cxn ang="0">
                  <a:pos x="connsiteX3" y="connsiteY3"/>
                </a:cxn>
              </a:cxnLst>
              <a:rect l="l" t="t" r="r" b="b"/>
              <a:pathLst>
                <a:path w="440054" h="1360170">
                  <a:moveTo>
                    <a:pt x="0" y="0"/>
                  </a:moveTo>
                  <a:lnTo>
                    <a:pt x="394335" y="1360170"/>
                  </a:lnTo>
                  <a:lnTo>
                    <a:pt x="440055" y="1360170"/>
                  </a:lnTo>
                  <a:lnTo>
                    <a:pt x="117157" y="0"/>
                  </a:lnTo>
                  <a:close/>
                </a:path>
              </a:pathLst>
            </a:custGeom>
            <a:solidFill>
              <a:srgbClr val="65656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7" name="Freeform: Shape 2193">
              <a:extLst>
                <a:ext uri="{FF2B5EF4-FFF2-40B4-BE49-F238E27FC236}">
                  <a16:creationId xmlns:a16="http://schemas.microsoft.com/office/drawing/2014/main" id="{F845A326-7C5B-A7DC-C72E-A021DEF7601E}"/>
                </a:ext>
              </a:extLst>
            </p:cNvPr>
            <p:cNvSpPr/>
            <p:nvPr/>
          </p:nvSpPr>
          <p:spPr>
            <a:xfrm>
              <a:off x="4779532" y="2780519"/>
              <a:ext cx="156441" cy="494204"/>
            </a:xfrm>
            <a:custGeom>
              <a:avLst/>
              <a:gdLst>
                <a:gd name="connsiteX0" fmla="*/ 440055 w 440054"/>
                <a:gd name="connsiteY0" fmla="*/ 0 h 1360170"/>
                <a:gd name="connsiteX1" fmla="*/ 45720 w 440054"/>
                <a:gd name="connsiteY1" fmla="*/ 1360170 h 1360170"/>
                <a:gd name="connsiteX2" fmla="*/ 0 w 440054"/>
                <a:gd name="connsiteY2" fmla="*/ 1360170 h 1360170"/>
                <a:gd name="connsiteX3" fmla="*/ 322897 w 440054"/>
                <a:gd name="connsiteY3" fmla="*/ 0 h 1360170"/>
              </a:gdLst>
              <a:ahLst/>
              <a:cxnLst>
                <a:cxn ang="0">
                  <a:pos x="connsiteX0" y="connsiteY0"/>
                </a:cxn>
                <a:cxn ang="0">
                  <a:pos x="connsiteX1" y="connsiteY1"/>
                </a:cxn>
                <a:cxn ang="0">
                  <a:pos x="connsiteX2" y="connsiteY2"/>
                </a:cxn>
                <a:cxn ang="0">
                  <a:pos x="connsiteX3" y="connsiteY3"/>
                </a:cxn>
              </a:cxnLst>
              <a:rect l="l" t="t" r="r" b="b"/>
              <a:pathLst>
                <a:path w="440054" h="1360170">
                  <a:moveTo>
                    <a:pt x="440055" y="0"/>
                  </a:moveTo>
                  <a:lnTo>
                    <a:pt x="45720" y="1360170"/>
                  </a:lnTo>
                  <a:lnTo>
                    <a:pt x="0" y="1360170"/>
                  </a:lnTo>
                  <a:lnTo>
                    <a:pt x="322897" y="0"/>
                  </a:lnTo>
                  <a:close/>
                </a:path>
              </a:pathLst>
            </a:custGeom>
            <a:solidFill>
              <a:srgbClr val="65656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8" name="Freeform: Shape 2194">
              <a:extLst>
                <a:ext uri="{FF2B5EF4-FFF2-40B4-BE49-F238E27FC236}">
                  <a16:creationId xmlns:a16="http://schemas.microsoft.com/office/drawing/2014/main" id="{A9FD7B4D-25C8-5EDC-8AAA-B22EC4DCB5BF}"/>
                </a:ext>
              </a:extLst>
            </p:cNvPr>
            <p:cNvSpPr/>
            <p:nvPr/>
          </p:nvSpPr>
          <p:spPr>
            <a:xfrm>
              <a:off x="4773098" y="2442744"/>
              <a:ext cx="472709" cy="483129"/>
            </a:xfrm>
            <a:custGeom>
              <a:avLst/>
              <a:gdLst>
                <a:gd name="connsiteX0" fmla="*/ 1329690 w 1329690"/>
                <a:gd name="connsiteY0" fmla="*/ 664845 h 1329689"/>
                <a:gd name="connsiteX1" fmla="*/ 664845 w 1329690"/>
                <a:gd name="connsiteY1" fmla="*/ 1329690 h 1329689"/>
                <a:gd name="connsiteX2" fmla="*/ 0 w 1329690"/>
                <a:gd name="connsiteY2" fmla="*/ 664845 h 1329689"/>
                <a:gd name="connsiteX3" fmla="*/ 664845 w 1329690"/>
                <a:gd name="connsiteY3" fmla="*/ 0 h 1329689"/>
                <a:gd name="connsiteX4" fmla="*/ 1329690 w 1329690"/>
                <a:gd name="connsiteY4" fmla="*/ 664845 h 1329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690" h="1329689">
                  <a:moveTo>
                    <a:pt x="1329690" y="664845"/>
                  </a:moveTo>
                  <a:cubicBezTo>
                    <a:pt x="1329690" y="1032029"/>
                    <a:pt x="1032029" y="1329690"/>
                    <a:pt x="664845" y="1329690"/>
                  </a:cubicBezTo>
                  <a:cubicBezTo>
                    <a:pt x="297661" y="1329690"/>
                    <a:pt x="0" y="1032029"/>
                    <a:pt x="0" y="664845"/>
                  </a:cubicBezTo>
                  <a:cubicBezTo>
                    <a:pt x="0" y="297661"/>
                    <a:pt x="297661" y="0"/>
                    <a:pt x="664845" y="0"/>
                  </a:cubicBezTo>
                  <a:cubicBezTo>
                    <a:pt x="1032029" y="0"/>
                    <a:pt x="1329690" y="297661"/>
                    <a:pt x="1329690" y="664845"/>
                  </a:cubicBezTo>
                  <a:close/>
                </a:path>
              </a:pathLst>
            </a:custGeom>
            <a:solidFill>
              <a:srgbClr val="75757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389" name="Graphic 530">
              <a:extLst>
                <a:ext uri="{FF2B5EF4-FFF2-40B4-BE49-F238E27FC236}">
                  <a16:creationId xmlns:a16="http://schemas.microsoft.com/office/drawing/2014/main" id="{CA1F6E27-64A7-F8D7-6E80-4A9E3BDF205F}"/>
                </a:ext>
              </a:extLst>
            </p:cNvPr>
            <p:cNvGrpSpPr/>
            <p:nvPr/>
          </p:nvGrpSpPr>
          <p:grpSpPr>
            <a:xfrm>
              <a:off x="4575346" y="3013778"/>
              <a:ext cx="306786" cy="263714"/>
              <a:chOff x="4665344" y="4570094"/>
              <a:chExt cx="862964" cy="725805"/>
            </a:xfrm>
          </p:grpSpPr>
          <p:sp>
            <p:nvSpPr>
              <p:cNvPr id="418" name="Freeform: Shape 2224">
                <a:extLst>
                  <a:ext uri="{FF2B5EF4-FFF2-40B4-BE49-F238E27FC236}">
                    <a16:creationId xmlns:a16="http://schemas.microsoft.com/office/drawing/2014/main" id="{CD947FBF-1418-D4BD-6591-7537AD38297C}"/>
                  </a:ext>
                </a:extLst>
              </p:cNvPr>
              <p:cNvSpPr/>
              <p:nvPr/>
            </p:nvSpPr>
            <p:spPr>
              <a:xfrm>
                <a:off x="4965382" y="4570094"/>
                <a:ext cx="262889" cy="262890"/>
              </a:xfrm>
              <a:custGeom>
                <a:avLst/>
                <a:gdLst>
                  <a:gd name="connsiteX0" fmla="*/ 131445 w 262889"/>
                  <a:gd name="connsiteY0" fmla="*/ 262890 h 262890"/>
                  <a:gd name="connsiteX1" fmla="*/ 0 w 262889"/>
                  <a:gd name="connsiteY1" fmla="*/ 131445 h 262890"/>
                  <a:gd name="connsiteX2" fmla="*/ 131445 w 262889"/>
                  <a:gd name="connsiteY2" fmla="*/ 0 h 262890"/>
                  <a:gd name="connsiteX3" fmla="*/ 262890 w 262889"/>
                  <a:gd name="connsiteY3" fmla="*/ 131445 h 262890"/>
                  <a:gd name="connsiteX4" fmla="*/ 131445 w 262889"/>
                  <a:gd name="connsiteY4" fmla="*/ 262890 h 262890"/>
                  <a:gd name="connsiteX5" fmla="*/ 131445 w 262889"/>
                  <a:gd name="connsiteY5" fmla="*/ 19050 h 262890"/>
                  <a:gd name="connsiteX6" fmla="*/ 18097 w 262889"/>
                  <a:gd name="connsiteY6" fmla="*/ 132398 h 262890"/>
                  <a:gd name="connsiteX7" fmla="*/ 131445 w 262889"/>
                  <a:gd name="connsiteY7" fmla="*/ 245745 h 262890"/>
                  <a:gd name="connsiteX8" fmla="*/ 244792 w 262889"/>
                  <a:gd name="connsiteY8" fmla="*/ 132398 h 262890"/>
                  <a:gd name="connsiteX9" fmla="*/ 131445 w 262889"/>
                  <a:gd name="connsiteY9" fmla="*/ 19050 h 2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2889" h="262890">
                    <a:moveTo>
                      <a:pt x="131445" y="262890"/>
                    </a:moveTo>
                    <a:cubicBezTo>
                      <a:pt x="59055" y="262890"/>
                      <a:pt x="0" y="203835"/>
                      <a:pt x="0" y="131445"/>
                    </a:cubicBezTo>
                    <a:cubicBezTo>
                      <a:pt x="0" y="59055"/>
                      <a:pt x="59055" y="0"/>
                      <a:pt x="131445" y="0"/>
                    </a:cubicBezTo>
                    <a:cubicBezTo>
                      <a:pt x="203835" y="0"/>
                      <a:pt x="262890" y="59055"/>
                      <a:pt x="262890" y="131445"/>
                    </a:cubicBezTo>
                    <a:cubicBezTo>
                      <a:pt x="262890" y="203835"/>
                      <a:pt x="203835" y="262890"/>
                      <a:pt x="131445" y="262890"/>
                    </a:cubicBezTo>
                    <a:close/>
                    <a:moveTo>
                      <a:pt x="131445" y="19050"/>
                    </a:moveTo>
                    <a:cubicBezTo>
                      <a:pt x="68580" y="19050"/>
                      <a:pt x="18097" y="69533"/>
                      <a:pt x="18097" y="132398"/>
                    </a:cubicBezTo>
                    <a:cubicBezTo>
                      <a:pt x="18097" y="195263"/>
                      <a:pt x="68580" y="245745"/>
                      <a:pt x="131445" y="245745"/>
                    </a:cubicBezTo>
                    <a:cubicBezTo>
                      <a:pt x="194310" y="245745"/>
                      <a:pt x="244792" y="195263"/>
                      <a:pt x="244792" y="132398"/>
                    </a:cubicBezTo>
                    <a:cubicBezTo>
                      <a:pt x="244792" y="69533"/>
                      <a:pt x="193358" y="19050"/>
                      <a:pt x="131445" y="19050"/>
                    </a:cubicBezTo>
                    <a:close/>
                  </a:path>
                </a:pathLst>
              </a:custGeom>
              <a:solidFill>
                <a:srgbClr val="08264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19" name="Freeform: Shape 2225">
                <a:extLst>
                  <a:ext uri="{FF2B5EF4-FFF2-40B4-BE49-F238E27FC236}">
                    <a16:creationId xmlns:a16="http://schemas.microsoft.com/office/drawing/2014/main" id="{2C0FC6CE-F849-B5CC-8A1F-F959C3515E19}"/>
                  </a:ext>
                </a:extLst>
              </p:cNvPr>
              <p:cNvSpPr/>
              <p:nvPr/>
            </p:nvSpPr>
            <p:spPr>
              <a:xfrm>
                <a:off x="4665344" y="4702492"/>
                <a:ext cx="862964" cy="593407"/>
              </a:xfrm>
              <a:custGeom>
                <a:avLst/>
                <a:gdLst>
                  <a:gd name="connsiteX0" fmla="*/ 0 w 862964"/>
                  <a:gd name="connsiteY0" fmla="*/ 0 h 593407"/>
                  <a:gd name="connsiteX1" fmla="*/ 862965 w 862964"/>
                  <a:gd name="connsiteY1" fmla="*/ 0 h 593407"/>
                  <a:gd name="connsiteX2" fmla="*/ 862965 w 862964"/>
                  <a:gd name="connsiteY2" fmla="*/ 593408 h 593407"/>
                  <a:gd name="connsiteX3" fmla="*/ 0 w 862964"/>
                  <a:gd name="connsiteY3" fmla="*/ 593408 h 593407"/>
                </a:gdLst>
                <a:ahLst/>
                <a:cxnLst>
                  <a:cxn ang="0">
                    <a:pos x="connsiteX0" y="connsiteY0"/>
                  </a:cxn>
                  <a:cxn ang="0">
                    <a:pos x="connsiteX1" y="connsiteY1"/>
                  </a:cxn>
                  <a:cxn ang="0">
                    <a:pos x="connsiteX2" y="connsiteY2"/>
                  </a:cxn>
                  <a:cxn ang="0">
                    <a:pos x="connsiteX3" y="connsiteY3"/>
                  </a:cxn>
                </a:cxnLst>
                <a:rect l="l" t="t" r="r" b="b"/>
                <a:pathLst>
                  <a:path w="862964" h="593407">
                    <a:moveTo>
                      <a:pt x="0" y="0"/>
                    </a:moveTo>
                    <a:lnTo>
                      <a:pt x="862965" y="0"/>
                    </a:lnTo>
                    <a:lnTo>
                      <a:pt x="862965" y="593408"/>
                    </a:lnTo>
                    <a:lnTo>
                      <a:pt x="0" y="593408"/>
                    </a:lnTo>
                    <a:close/>
                  </a:path>
                </a:pathLst>
              </a:custGeom>
              <a:solidFill>
                <a:srgbClr val="10355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20" name="Freeform: Shape 2226">
                <a:extLst>
                  <a:ext uri="{FF2B5EF4-FFF2-40B4-BE49-F238E27FC236}">
                    <a16:creationId xmlns:a16="http://schemas.microsoft.com/office/drawing/2014/main" id="{68A93EB6-53FE-2FA5-6410-903B22238962}"/>
                  </a:ext>
                </a:extLst>
              </p:cNvPr>
              <p:cNvSpPr/>
              <p:nvPr/>
            </p:nvSpPr>
            <p:spPr>
              <a:xfrm>
                <a:off x="5437822" y="4702492"/>
                <a:ext cx="89534" cy="593407"/>
              </a:xfrm>
              <a:custGeom>
                <a:avLst/>
                <a:gdLst>
                  <a:gd name="connsiteX0" fmla="*/ 0 w 89534"/>
                  <a:gd name="connsiteY0" fmla="*/ 0 h 593407"/>
                  <a:gd name="connsiteX1" fmla="*/ 89535 w 89534"/>
                  <a:gd name="connsiteY1" fmla="*/ 0 h 593407"/>
                  <a:gd name="connsiteX2" fmla="*/ 89535 w 89534"/>
                  <a:gd name="connsiteY2" fmla="*/ 593408 h 593407"/>
                  <a:gd name="connsiteX3" fmla="*/ 0 w 89534"/>
                  <a:gd name="connsiteY3" fmla="*/ 593408 h 593407"/>
                </a:gdLst>
                <a:ahLst/>
                <a:cxnLst>
                  <a:cxn ang="0">
                    <a:pos x="connsiteX0" y="connsiteY0"/>
                  </a:cxn>
                  <a:cxn ang="0">
                    <a:pos x="connsiteX1" y="connsiteY1"/>
                  </a:cxn>
                  <a:cxn ang="0">
                    <a:pos x="connsiteX2" y="connsiteY2"/>
                  </a:cxn>
                  <a:cxn ang="0">
                    <a:pos x="connsiteX3" y="connsiteY3"/>
                  </a:cxn>
                </a:cxnLst>
                <a:rect l="l" t="t" r="r" b="b"/>
                <a:pathLst>
                  <a:path w="89534" h="593407">
                    <a:moveTo>
                      <a:pt x="0" y="0"/>
                    </a:moveTo>
                    <a:lnTo>
                      <a:pt x="89535" y="0"/>
                    </a:lnTo>
                    <a:lnTo>
                      <a:pt x="89535" y="593408"/>
                    </a:lnTo>
                    <a:lnTo>
                      <a:pt x="0" y="593408"/>
                    </a:lnTo>
                    <a:close/>
                  </a:path>
                </a:pathLst>
              </a:custGeom>
              <a:solidFill>
                <a:srgbClr val="08264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21" name="Freeform: Shape 2227">
                <a:extLst>
                  <a:ext uri="{FF2B5EF4-FFF2-40B4-BE49-F238E27FC236}">
                    <a16:creationId xmlns:a16="http://schemas.microsoft.com/office/drawing/2014/main" id="{FC8A5876-3FA8-5E7B-A132-B4E49382B266}"/>
                  </a:ext>
                </a:extLst>
              </p:cNvPr>
              <p:cNvSpPr/>
              <p:nvPr/>
            </p:nvSpPr>
            <p:spPr>
              <a:xfrm>
                <a:off x="4665344" y="4990147"/>
                <a:ext cx="772477" cy="18097"/>
              </a:xfrm>
              <a:custGeom>
                <a:avLst/>
                <a:gdLst>
                  <a:gd name="connsiteX0" fmla="*/ 0 w 772477"/>
                  <a:gd name="connsiteY0" fmla="*/ 0 h 18097"/>
                  <a:gd name="connsiteX1" fmla="*/ 772477 w 772477"/>
                  <a:gd name="connsiteY1" fmla="*/ 0 h 18097"/>
                  <a:gd name="connsiteX2" fmla="*/ 772477 w 772477"/>
                  <a:gd name="connsiteY2" fmla="*/ 18097 h 18097"/>
                  <a:gd name="connsiteX3" fmla="*/ 0 w 772477"/>
                  <a:gd name="connsiteY3" fmla="*/ 18097 h 18097"/>
                </a:gdLst>
                <a:ahLst/>
                <a:cxnLst>
                  <a:cxn ang="0">
                    <a:pos x="connsiteX0" y="connsiteY0"/>
                  </a:cxn>
                  <a:cxn ang="0">
                    <a:pos x="connsiteX1" y="connsiteY1"/>
                  </a:cxn>
                  <a:cxn ang="0">
                    <a:pos x="connsiteX2" y="connsiteY2"/>
                  </a:cxn>
                  <a:cxn ang="0">
                    <a:pos x="connsiteX3" y="connsiteY3"/>
                  </a:cxn>
                </a:cxnLst>
                <a:rect l="l" t="t" r="r" b="b"/>
                <a:pathLst>
                  <a:path w="772477" h="18097">
                    <a:moveTo>
                      <a:pt x="0" y="0"/>
                    </a:moveTo>
                    <a:lnTo>
                      <a:pt x="772477" y="0"/>
                    </a:lnTo>
                    <a:lnTo>
                      <a:pt x="772477" y="18097"/>
                    </a:lnTo>
                    <a:lnTo>
                      <a:pt x="0" y="18097"/>
                    </a:lnTo>
                    <a:close/>
                  </a:path>
                </a:pathLst>
              </a:custGeom>
              <a:solidFill>
                <a:srgbClr val="08264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22" name="Freeform: Shape 2228">
                <a:extLst>
                  <a:ext uri="{FF2B5EF4-FFF2-40B4-BE49-F238E27FC236}">
                    <a16:creationId xmlns:a16="http://schemas.microsoft.com/office/drawing/2014/main" id="{011055A9-93F5-E9AF-E5F5-2D82A74F4966}"/>
                  </a:ext>
                </a:extLst>
              </p:cNvPr>
              <p:cNvSpPr/>
              <p:nvPr/>
            </p:nvSpPr>
            <p:spPr>
              <a:xfrm>
                <a:off x="4989194" y="4990147"/>
                <a:ext cx="125729" cy="80962"/>
              </a:xfrm>
              <a:custGeom>
                <a:avLst/>
                <a:gdLst>
                  <a:gd name="connsiteX0" fmla="*/ 0 w 125729"/>
                  <a:gd name="connsiteY0" fmla="*/ 0 h 80962"/>
                  <a:gd name="connsiteX1" fmla="*/ 125730 w 125729"/>
                  <a:gd name="connsiteY1" fmla="*/ 0 h 80962"/>
                  <a:gd name="connsiteX2" fmla="*/ 125730 w 125729"/>
                  <a:gd name="connsiteY2" fmla="*/ 80962 h 80962"/>
                  <a:gd name="connsiteX3" fmla="*/ 0 w 125729"/>
                  <a:gd name="connsiteY3" fmla="*/ 80962 h 80962"/>
                </a:gdLst>
                <a:ahLst/>
                <a:cxnLst>
                  <a:cxn ang="0">
                    <a:pos x="connsiteX0" y="connsiteY0"/>
                  </a:cxn>
                  <a:cxn ang="0">
                    <a:pos x="connsiteX1" y="connsiteY1"/>
                  </a:cxn>
                  <a:cxn ang="0">
                    <a:pos x="connsiteX2" y="connsiteY2"/>
                  </a:cxn>
                  <a:cxn ang="0">
                    <a:pos x="connsiteX3" y="connsiteY3"/>
                  </a:cxn>
                </a:cxnLst>
                <a:rect l="l" t="t" r="r" b="b"/>
                <a:pathLst>
                  <a:path w="125729" h="80962">
                    <a:moveTo>
                      <a:pt x="0" y="0"/>
                    </a:moveTo>
                    <a:lnTo>
                      <a:pt x="125730" y="0"/>
                    </a:lnTo>
                    <a:lnTo>
                      <a:pt x="125730" y="80962"/>
                    </a:lnTo>
                    <a:lnTo>
                      <a:pt x="0" y="80962"/>
                    </a:lnTo>
                    <a:close/>
                  </a:path>
                </a:pathLst>
              </a:custGeom>
              <a:solidFill>
                <a:srgbClr val="2B558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390" name="Freeform: Shape 2196">
              <a:extLst>
                <a:ext uri="{FF2B5EF4-FFF2-40B4-BE49-F238E27FC236}">
                  <a16:creationId xmlns:a16="http://schemas.microsoft.com/office/drawing/2014/main" id="{998FE8F4-A70B-2299-2AE3-2C2C5B4812F6}"/>
                </a:ext>
              </a:extLst>
            </p:cNvPr>
            <p:cNvSpPr/>
            <p:nvPr/>
          </p:nvSpPr>
          <p:spPr>
            <a:xfrm>
              <a:off x="4514056" y="2649701"/>
              <a:ext cx="82961" cy="625023"/>
            </a:xfrm>
            <a:custGeom>
              <a:avLst/>
              <a:gdLst>
                <a:gd name="connsiteX0" fmla="*/ 233363 w 233362"/>
                <a:gd name="connsiteY0" fmla="*/ 0 h 1720215"/>
                <a:gd name="connsiteX1" fmla="*/ 223838 w 233362"/>
                <a:gd name="connsiteY1" fmla="*/ 90488 h 1720215"/>
                <a:gd name="connsiteX2" fmla="*/ 44767 w 233362"/>
                <a:gd name="connsiteY2" fmla="*/ 1720215 h 1720215"/>
                <a:gd name="connsiteX3" fmla="*/ 0 w 233362"/>
                <a:gd name="connsiteY3" fmla="*/ 1720215 h 1720215"/>
                <a:gd name="connsiteX4" fmla="*/ 134303 w 233362"/>
                <a:gd name="connsiteY4" fmla="*/ 0 h 1720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362" h="1720215">
                  <a:moveTo>
                    <a:pt x="233363" y="0"/>
                  </a:moveTo>
                  <a:lnTo>
                    <a:pt x="223838" y="90488"/>
                  </a:lnTo>
                  <a:lnTo>
                    <a:pt x="44767" y="1720215"/>
                  </a:lnTo>
                  <a:lnTo>
                    <a:pt x="0" y="1720215"/>
                  </a:lnTo>
                  <a:lnTo>
                    <a:pt x="134303" y="0"/>
                  </a:lnTo>
                  <a:close/>
                </a:path>
              </a:pathLst>
            </a:custGeom>
            <a:solidFill>
              <a:srgbClr val="70707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1" name="Freeform: Shape 2197">
              <a:extLst>
                <a:ext uri="{FF2B5EF4-FFF2-40B4-BE49-F238E27FC236}">
                  <a16:creationId xmlns:a16="http://schemas.microsoft.com/office/drawing/2014/main" id="{D0F384DF-67EF-66D5-BDC3-DF6CACBCCD44}"/>
                </a:ext>
              </a:extLst>
            </p:cNvPr>
            <p:cNvSpPr/>
            <p:nvPr/>
          </p:nvSpPr>
          <p:spPr>
            <a:xfrm>
              <a:off x="5992118" y="2649701"/>
              <a:ext cx="83299" cy="625023"/>
            </a:xfrm>
            <a:custGeom>
              <a:avLst/>
              <a:gdLst>
                <a:gd name="connsiteX0" fmla="*/ 0 w 234314"/>
                <a:gd name="connsiteY0" fmla="*/ 0 h 1720215"/>
                <a:gd name="connsiteX1" fmla="*/ 9525 w 234314"/>
                <a:gd name="connsiteY1" fmla="*/ 90488 h 1720215"/>
                <a:gd name="connsiteX2" fmla="*/ 188595 w 234314"/>
                <a:gd name="connsiteY2" fmla="*/ 1720215 h 1720215"/>
                <a:gd name="connsiteX3" fmla="*/ 234315 w 234314"/>
                <a:gd name="connsiteY3" fmla="*/ 1720215 h 1720215"/>
                <a:gd name="connsiteX4" fmla="*/ 100013 w 234314"/>
                <a:gd name="connsiteY4" fmla="*/ 0 h 1720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314" h="1720215">
                  <a:moveTo>
                    <a:pt x="0" y="0"/>
                  </a:moveTo>
                  <a:lnTo>
                    <a:pt x="9525" y="90488"/>
                  </a:lnTo>
                  <a:lnTo>
                    <a:pt x="188595" y="1720215"/>
                  </a:lnTo>
                  <a:lnTo>
                    <a:pt x="234315" y="1720215"/>
                  </a:lnTo>
                  <a:lnTo>
                    <a:pt x="100013" y="0"/>
                  </a:lnTo>
                  <a:close/>
                </a:path>
              </a:pathLst>
            </a:custGeom>
            <a:solidFill>
              <a:srgbClr val="70707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2" name="Freeform: Shape 2198">
              <a:extLst>
                <a:ext uri="{FF2B5EF4-FFF2-40B4-BE49-F238E27FC236}">
                  <a16:creationId xmlns:a16="http://schemas.microsoft.com/office/drawing/2014/main" id="{25BE8E5C-86B2-4665-DE0C-CBB893C0E905}"/>
                </a:ext>
              </a:extLst>
            </p:cNvPr>
            <p:cNvSpPr/>
            <p:nvPr/>
          </p:nvSpPr>
          <p:spPr>
            <a:xfrm>
              <a:off x="5411169" y="2221252"/>
              <a:ext cx="216935" cy="424521"/>
            </a:xfrm>
            <a:custGeom>
              <a:avLst/>
              <a:gdLst>
                <a:gd name="connsiteX0" fmla="*/ 561643 w 610220"/>
                <a:gd name="connsiteY0" fmla="*/ 361950 h 1168385"/>
                <a:gd name="connsiteX1" fmla="*/ 434008 w 610220"/>
                <a:gd name="connsiteY1" fmla="*/ 289560 h 1168385"/>
                <a:gd name="connsiteX2" fmla="*/ 573073 w 610220"/>
                <a:gd name="connsiteY2" fmla="*/ 0 h 1168385"/>
                <a:gd name="connsiteX3" fmla="*/ 573073 w 610220"/>
                <a:gd name="connsiteY3" fmla="*/ 0 h 1168385"/>
                <a:gd name="connsiteX4" fmla="*/ 359713 w 610220"/>
                <a:gd name="connsiteY4" fmla="*/ 444817 h 1168385"/>
                <a:gd name="connsiteX5" fmla="*/ 359713 w 610220"/>
                <a:gd name="connsiteY5" fmla="*/ 444817 h 1168385"/>
                <a:gd name="connsiteX6" fmla="*/ 359713 w 610220"/>
                <a:gd name="connsiteY6" fmla="*/ 445770 h 1168385"/>
                <a:gd name="connsiteX7" fmla="*/ 359713 w 610220"/>
                <a:gd name="connsiteY7" fmla="*/ 445770 h 1168385"/>
                <a:gd name="connsiteX8" fmla="*/ 100633 w 610220"/>
                <a:gd name="connsiteY8" fmla="*/ 995363 h 1168385"/>
                <a:gd name="connsiteX9" fmla="*/ 24433 w 610220"/>
                <a:gd name="connsiteY9" fmla="*/ 1056323 h 1168385"/>
                <a:gd name="connsiteX10" fmla="*/ 24433 w 610220"/>
                <a:gd name="connsiteY10" fmla="*/ 1056323 h 1168385"/>
                <a:gd name="connsiteX11" fmla="*/ 10145 w 610220"/>
                <a:gd name="connsiteY11" fmla="*/ 1071563 h 1168385"/>
                <a:gd name="connsiteX12" fmla="*/ 29195 w 610220"/>
                <a:gd name="connsiteY12" fmla="*/ 1158240 h 1168385"/>
                <a:gd name="connsiteX13" fmla="*/ 115873 w 610220"/>
                <a:gd name="connsiteY13" fmla="*/ 1139190 h 1168385"/>
                <a:gd name="connsiteX14" fmla="*/ 173975 w 610220"/>
                <a:gd name="connsiteY14" fmla="*/ 1048702 h 1168385"/>
                <a:gd name="connsiteX15" fmla="*/ 173975 w 610220"/>
                <a:gd name="connsiteY15" fmla="*/ 1048702 h 1168385"/>
                <a:gd name="connsiteX16" fmla="*/ 507350 w 610220"/>
                <a:gd name="connsiteY16" fmla="*/ 527685 h 1168385"/>
                <a:gd name="connsiteX17" fmla="*/ 610221 w 610220"/>
                <a:gd name="connsiteY17" fmla="*/ 378142 h 1168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10220" h="1168385">
                  <a:moveTo>
                    <a:pt x="561643" y="361950"/>
                  </a:moveTo>
                  <a:lnTo>
                    <a:pt x="434008" y="289560"/>
                  </a:lnTo>
                  <a:lnTo>
                    <a:pt x="573073" y="0"/>
                  </a:lnTo>
                  <a:lnTo>
                    <a:pt x="573073" y="0"/>
                  </a:lnTo>
                  <a:lnTo>
                    <a:pt x="359713" y="444817"/>
                  </a:lnTo>
                  <a:lnTo>
                    <a:pt x="359713" y="444817"/>
                  </a:lnTo>
                  <a:cubicBezTo>
                    <a:pt x="359713" y="444817"/>
                    <a:pt x="359713" y="444817"/>
                    <a:pt x="359713" y="445770"/>
                  </a:cubicBezTo>
                  <a:lnTo>
                    <a:pt x="359713" y="445770"/>
                  </a:lnTo>
                  <a:lnTo>
                    <a:pt x="100633" y="995363"/>
                  </a:lnTo>
                  <a:lnTo>
                    <a:pt x="24433" y="1056323"/>
                  </a:lnTo>
                  <a:lnTo>
                    <a:pt x="24433" y="1056323"/>
                  </a:lnTo>
                  <a:cubicBezTo>
                    <a:pt x="18718" y="1061085"/>
                    <a:pt x="13955" y="1065848"/>
                    <a:pt x="10145" y="1071563"/>
                  </a:cubicBezTo>
                  <a:cubicBezTo>
                    <a:pt x="-8905" y="1101090"/>
                    <a:pt x="-332" y="1140143"/>
                    <a:pt x="29195" y="1158240"/>
                  </a:cubicBezTo>
                  <a:cubicBezTo>
                    <a:pt x="58723" y="1177290"/>
                    <a:pt x="97775" y="1168718"/>
                    <a:pt x="115873" y="1139190"/>
                  </a:cubicBezTo>
                  <a:lnTo>
                    <a:pt x="173975" y="1048702"/>
                  </a:lnTo>
                  <a:lnTo>
                    <a:pt x="173975" y="1048702"/>
                  </a:lnTo>
                  <a:lnTo>
                    <a:pt x="507350" y="527685"/>
                  </a:lnTo>
                  <a:lnTo>
                    <a:pt x="610221" y="378142"/>
                  </a:lnTo>
                </a:path>
              </a:pathLst>
            </a:custGeom>
            <a:solidFill>
              <a:srgbClr val="C69E8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3" name="Freeform: Shape 2199">
              <a:extLst>
                <a:ext uri="{FF2B5EF4-FFF2-40B4-BE49-F238E27FC236}">
                  <a16:creationId xmlns:a16="http://schemas.microsoft.com/office/drawing/2014/main" id="{F0794261-76D8-7AF0-68D7-F52EF78F1297}"/>
                </a:ext>
              </a:extLst>
            </p:cNvPr>
            <p:cNvSpPr/>
            <p:nvPr/>
          </p:nvSpPr>
          <p:spPr>
            <a:xfrm>
              <a:off x="5564022" y="2462471"/>
              <a:ext cx="311612" cy="783528"/>
            </a:xfrm>
            <a:custGeom>
              <a:avLst/>
              <a:gdLst>
                <a:gd name="connsiteX0" fmla="*/ 464106 w 876538"/>
                <a:gd name="connsiteY0" fmla="*/ 673418 h 2156459"/>
                <a:gd name="connsiteX1" fmla="*/ 568881 w 876538"/>
                <a:gd name="connsiteY1" fmla="*/ 561975 h 2156459"/>
                <a:gd name="connsiteX2" fmla="*/ 623173 w 876538"/>
                <a:gd name="connsiteY2" fmla="*/ 1002030 h 2156459"/>
                <a:gd name="connsiteX3" fmla="*/ 623173 w 876538"/>
                <a:gd name="connsiteY3" fmla="*/ 1002030 h 2156459"/>
                <a:gd name="connsiteX4" fmla="*/ 623173 w 876538"/>
                <a:gd name="connsiteY4" fmla="*/ 1002030 h 2156459"/>
                <a:gd name="connsiteX5" fmla="*/ 623173 w 876538"/>
                <a:gd name="connsiteY5" fmla="*/ 2155508 h 2156459"/>
                <a:gd name="connsiteX6" fmla="*/ 623173 w 876538"/>
                <a:gd name="connsiteY6" fmla="*/ 2155508 h 2156459"/>
                <a:gd name="connsiteX7" fmla="*/ 740331 w 876538"/>
                <a:gd name="connsiteY7" fmla="*/ 2155508 h 2156459"/>
                <a:gd name="connsiteX8" fmla="*/ 740331 w 876538"/>
                <a:gd name="connsiteY8" fmla="*/ 2155508 h 2156459"/>
                <a:gd name="connsiteX9" fmla="*/ 740331 w 876538"/>
                <a:gd name="connsiteY9" fmla="*/ 2155508 h 2156459"/>
                <a:gd name="connsiteX10" fmla="*/ 740331 w 876538"/>
                <a:gd name="connsiteY10" fmla="*/ 2155508 h 2156459"/>
                <a:gd name="connsiteX11" fmla="*/ 770811 w 876538"/>
                <a:gd name="connsiteY11" fmla="*/ 1754505 h 2156459"/>
                <a:gd name="connsiteX12" fmla="*/ 770811 w 876538"/>
                <a:gd name="connsiteY12" fmla="*/ 1754505 h 2156459"/>
                <a:gd name="connsiteX13" fmla="*/ 777478 w 876538"/>
                <a:gd name="connsiteY13" fmla="*/ 1663065 h 2156459"/>
                <a:gd name="connsiteX14" fmla="*/ 777478 w 876538"/>
                <a:gd name="connsiteY14" fmla="*/ 1662113 h 2156459"/>
                <a:gd name="connsiteX15" fmla="*/ 782241 w 876538"/>
                <a:gd name="connsiteY15" fmla="*/ 1603057 h 2156459"/>
                <a:gd name="connsiteX16" fmla="*/ 782241 w 876538"/>
                <a:gd name="connsiteY16" fmla="*/ 1600200 h 2156459"/>
                <a:gd name="connsiteX17" fmla="*/ 838438 w 876538"/>
                <a:gd name="connsiteY17" fmla="*/ 855345 h 2156459"/>
                <a:gd name="connsiteX18" fmla="*/ 838438 w 876538"/>
                <a:gd name="connsiteY18" fmla="*/ 861060 h 2156459"/>
                <a:gd name="connsiteX19" fmla="*/ 875586 w 876538"/>
                <a:gd name="connsiteY19" fmla="*/ 361950 h 2156459"/>
                <a:gd name="connsiteX20" fmla="*/ 875586 w 876538"/>
                <a:gd name="connsiteY20" fmla="*/ 361950 h 2156459"/>
                <a:gd name="connsiteX21" fmla="*/ 876538 w 876538"/>
                <a:gd name="connsiteY21" fmla="*/ 352425 h 2156459"/>
                <a:gd name="connsiteX22" fmla="*/ 876538 w 876538"/>
                <a:gd name="connsiteY22" fmla="*/ 352425 h 2156459"/>
                <a:gd name="connsiteX23" fmla="*/ 876538 w 876538"/>
                <a:gd name="connsiteY23" fmla="*/ 262890 h 2156459"/>
                <a:gd name="connsiteX24" fmla="*/ 756523 w 876538"/>
                <a:gd name="connsiteY24" fmla="*/ 17145 h 2156459"/>
                <a:gd name="connsiteX25" fmla="*/ 733663 w 876538"/>
                <a:gd name="connsiteY25" fmla="*/ 0 h 2156459"/>
                <a:gd name="connsiteX26" fmla="*/ 315516 w 876538"/>
                <a:gd name="connsiteY26" fmla="*/ 0 h 2156459"/>
                <a:gd name="connsiteX27" fmla="*/ 313611 w 876538"/>
                <a:gd name="connsiteY27" fmla="*/ 3810 h 2156459"/>
                <a:gd name="connsiteX28" fmla="*/ 261223 w 876538"/>
                <a:gd name="connsiteY28" fmla="*/ 229553 h 2156459"/>
                <a:gd name="connsiteX29" fmla="*/ 261223 w 876538"/>
                <a:gd name="connsiteY29" fmla="*/ 330517 h 2156459"/>
                <a:gd name="connsiteX30" fmla="*/ 5953 w 876538"/>
                <a:gd name="connsiteY30" fmla="*/ 1043940 h 2156459"/>
                <a:gd name="connsiteX31" fmla="*/ 5953 w 876538"/>
                <a:gd name="connsiteY31" fmla="*/ 1043940 h 2156459"/>
                <a:gd name="connsiteX32" fmla="*/ 238 w 876538"/>
                <a:gd name="connsiteY32" fmla="*/ 1082993 h 2156459"/>
                <a:gd name="connsiteX33" fmla="*/ 4048 w 876538"/>
                <a:gd name="connsiteY33" fmla="*/ 1105853 h 2156459"/>
                <a:gd name="connsiteX34" fmla="*/ 4048 w 876538"/>
                <a:gd name="connsiteY34" fmla="*/ 1105853 h 2156459"/>
                <a:gd name="connsiteX35" fmla="*/ 308848 w 876538"/>
                <a:gd name="connsiteY35" fmla="*/ 2156460 h 2156459"/>
                <a:gd name="connsiteX36" fmla="*/ 309801 w 876538"/>
                <a:gd name="connsiteY36" fmla="*/ 2155508 h 2156459"/>
                <a:gd name="connsiteX37" fmla="*/ 426958 w 876538"/>
                <a:gd name="connsiteY37" fmla="*/ 2155508 h 2156459"/>
                <a:gd name="connsiteX38" fmla="*/ 426958 w 876538"/>
                <a:gd name="connsiteY38" fmla="*/ 2148840 h 2156459"/>
                <a:gd name="connsiteX39" fmla="*/ 426006 w 876538"/>
                <a:gd name="connsiteY39" fmla="*/ 2140268 h 2156459"/>
                <a:gd name="connsiteX40" fmla="*/ 426006 w 876538"/>
                <a:gd name="connsiteY40" fmla="*/ 2140268 h 2156459"/>
                <a:gd name="connsiteX41" fmla="*/ 206931 w 876538"/>
                <a:gd name="connsiteY41" fmla="*/ 1087755 h 2156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876538" h="2156459">
                  <a:moveTo>
                    <a:pt x="464106" y="673418"/>
                  </a:moveTo>
                  <a:lnTo>
                    <a:pt x="568881" y="561975"/>
                  </a:lnTo>
                  <a:lnTo>
                    <a:pt x="623173" y="1002030"/>
                  </a:lnTo>
                  <a:lnTo>
                    <a:pt x="623173" y="1002030"/>
                  </a:lnTo>
                  <a:cubicBezTo>
                    <a:pt x="623173" y="1002030"/>
                    <a:pt x="623173" y="1002030"/>
                    <a:pt x="623173" y="1002030"/>
                  </a:cubicBezTo>
                  <a:lnTo>
                    <a:pt x="623173" y="2155508"/>
                  </a:lnTo>
                  <a:lnTo>
                    <a:pt x="623173" y="2155508"/>
                  </a:lnTo>
                  <a:lnTo>
                    <a:pt x="740331" y="2155508"/>
                  </a:lnTo>
                  <a:lnTo>
                    <a:pt x="740331" y="2155508"/>
                  </a:lnTo>
                  <a:lnTo>
                    <a:pt x="740331" y="2155508"/>
                  </a:lnTo>
                  <a:lnTo>
                    <a:pt x="740331" y="2155508"/>
                  </a:lnTo>
                  <a:lnTo>
                    <a:pt x="770811" y="1754505"/>
                  </a:lnTo>
                  <a:lnTo>
                    <a:pt x="770811" y="1754505"/>
                  </a:lnTo>
                  <a:lnTo>
                    <a:pt x="777478" y="1663065"/>
                  </a:lnTo>
                  <a:lnTo>
                    <a:pt x="777478" y="1662113"/>
                  </a:lnTo>
                  <a:lnTo>
                    <a:pt x="782241" y="1603057"/>
                  </a:lnTo>
                  <a:lnTo>
                    <a:pt x="782241" y="1600200"/>
                  </a:lnTo>
                  <a:lnTo>
                    <a:pt x="838438" y="855345"/>
                  </a:lnTo>
                  <a:lnTo>
                    <a:pt x="838438" y="861060"/>
                  </a:lnTo>
                  <a:lnTo>
                    <a:pt x="875586" y="361950"/>
                  </a:lnTo>
                  <a:lnTo>
                    <a:pt x="875586" y="361950"/>
                  </a:lnTo>
                  <a:cubicBezTo>
                    <a:pt x="875586" y="359092"/>
                    <a:pt x="876538" y="355283"/>
                    <a:pt x="876538" y="352425"/>
                  </a:cubicBezTo>
                  <a:lnTo>
                    <a:pt x="876538" y="352425"/>
                  </a:lnTo>
                  <a:lnTo>
                    <a:pt x="876538" y="262890"/>
                  </a:lnTo>
                  <a:cubicBezTo>
                    <a:pt x="876538" y="166688"/>
                    <a:pt x="831770" y="76200"/>
                    <a:pt x="756523" y="17145"/>
                  </a:cubicBezTo>
                  <a:lnTo>
                    <a:pt x="733663" y="0"/>
                  </a:lnTo>
                  <a:lnTo>
                    <a:pt x="315516" y="0"/>
                  </a:lnTo>
                  <a:cubicBezTo>
                    <a:pt x="314563" y="953"/>
                    <a:pt x="314563" y="2858"/>
                    <a:pt x="313611" y="3810"/>
                  </a:cubicBezTo>
                  <a:cubicBezTo>
                    <a:pt x="279321" y="74295"/>
                    <a:pt x="261223" y="151447"/>
                    <a:pt x="261223" y="229553"/>
                  </a:cubicBezTo>
                  <a:lnTo>
                    <a:pt x="261223" y="330517"/>
                  </a:lnTo>
                  <a:lnTo>
                    <a:pt x="5953" y="1043940"/>
                  </a:lnTo>
                  <a:lnTo>
                    <a:pt x="5953" y="1043940"/>
                  </a:lnTo>
                  <a:cubicBezTo>
                    <a:pt x="1191" y="1056323"/>
                    <a:pt x="-714" y="1069657"/>
                    <a:pt x="238" y="1082993"/>
                  </a:cubicBezTo>
                  <a:cubicBezTo>
                    <a:pt x="238" y="1091565"/>
                    <a:pt x="2143" y="1099185"/>
                    <a:pt x="4048" y="1105853"/>
                  </a:cubicBezTo>
                  <a:lnTo>
                    <a:pt x="4048" y="1105853"/>
                  </a:lnTo>
                  <a:lnTo>
                    <a:pt x="308848" y="2156460"/>
                  </a:lnTo>
                  <a:lnTo>
                    <a:pt x="309801" y="2155508"/>
                  </a:lnTo>
                  <a:lnTo>
                    <a:pt x="426958" y="2155508"/>
                  </a:lnTo>
                  <a:cubicBezTo>
                    <a:pt x="426958" y="2153603"/>
                    <a:pt x="426958" y="2150745"/>
                    <a:pt x="426958" y="2148840"/>
                  </a:cubicBezTo>
                  <a:cubicBezTo>
                    <a:pt x="426958" y="2145983"/>
                    <a:pt x="426006" y="2143125"/>
                    <a:pt x="426006" y="2140268"/>
                  </a:cubicBezTo>
                  <a:lnTo>
                    <a:pt x="426006" y="2140268"/>
                  </a:lnTo>
                  <a:lnTo>
                    <a:pt x="206931" y="1087755"/>
                  </a:lnTo>
                </a:path>
              </a:pathLst>
            </a:custGeom>
            <a:solidFill>
              <a:srgbClr val="1537B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4" name="Freeform: Shape 2200">
              <a:extLst>
                <a:ext uri="{FF2B5EF4-FFF2-40B4-BE49-F238E27FC236}">
                  <a16:creationId xmlns:a16="http://schemas.microsoft.com/office/drawing/2014/main" id="{39516563-A367-0203-4ABA-97BD6F514FFD}"/>
                </a:ext>
              </a:extLst>
            </p:cNvPr>
            <p:cNvSpPr/>
            <p:nvPr/>
          </p:nvSpPr>
          <p:spPr>
            <a:xfrm>
              <a:off x="5737816" y="3245307"/>
              <a:ext cx="89395" cy="29417"/>
            </a:xfrm>
            <a:custGeom>
              <a:avLst/>
              <a:gdLst>
                <a:gd name="connsiteX0" fmla="*/ 134303 w 251460"/>
                <a:gd name="connsiteY0" fmla="*/ 0 h 80962"/>
                <a:gd name="connsiteX1" fmla="*/ 140018 w 251460"/>
                <a:gd name="connsiteY1" fmla="*/ 5715 h 80962"/>
                <a:gd name="connsiteX2" fmla="*/ 17145 w 251460"/>
                <a:gd name="connsiteY2" fmla="*/ 34290 h 80962"/>
                <a:gd name="connsiteX3" fmla="*/ 0 w 251460"/>
                <a:gd name="connsiteY3" fmla="*/ 56197 h 80962"/>
                <a:gd name="connsiteX4" fmla="*/ 33338 w 251460"/>
                <a:gd name="connsiteY4" fmla="*/ 80963 h 80962"/>
                <a:gd name="connsiteX5" fmla="*/ 251460 w 251460"/>
                <a:gd name="connsiteY5" fmla="*/ 80963 h 80962"/>
                <a:gd name="connsiteX6" fmla="*/ 251460 w 251460"/>
                <a:gd name="connsiteY6" fmla="*/ 0 h 80962"/>
                <a:gd name="connsiteX7" fmla="*/ 251460 w 251460"/>
                <a:gd name="connsiteY7" fmla="*/ 0 h 80962"/>
                <a:gd name="connsiteX8" fmla="*/ 140018 w 251460"/>
                <a:gd name="connsiteY8" fmla="*/ 0 h 80962"/>
                <a:gd name="connsiteX9" fmla="*/ 134303 w 251460"/>
                <a:gd name="connsiteY9" fmla="*/ 0 h 8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1460" h="80962">
                  <a:moveTo>
                    <a:pt x="134303" y="0"/>
                  </a:moveTo>
                  <a:lnTo>
                    <a:pt x="140018" y="5715"/>
                  </a:lnTo>
                  <a:lnTo>
                    <a:pt x="17145" y="34290"/>
                  </a:lnTo>
                  <a:cubicBezTo>
                    <a:pt x="6668" y="39052"/>
                    <a:pt x="0" y="46672"/>
                    <a:pt x="0" y="56197"/>
                  </a:cubicBezTo>
                  <a:cubicBezTo>
                    <a:pt x="0" y="70485"/>
                    <a:pt x="15240" y="80963"/>
                    <a:pt x="33338" y="80963"/>
                  </a:cubicBezTo>
                  <a:lnTo>
                    <a:pt x="251460" y="80963"/>
                  </a:lnTo>
                  <a:lnTo>
                    <a:pt x="251460" y="0"/>
                  </a:lnTo>
                  <a:lnTo>
                    <a:pt x="251460" y="0"/>
                  </a:lnTo>
                  <a:lnTo>
                    <a:pt x="140018" y="0"/>
                  </a:lnTo>
                  <a:lnTo>
                    <a:pt x="134303" y="0"/>
                  </a:lnTo>
                  <a:close/>
                </a:path>
              </a:pathLst>
            </a:custGeom>
            <a:solidFill>
              <a:srgbClr val="B3B3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5" name="Freeform: Shape 2201">
              <a:extLst>
                <a:ext uri="{FF2B5EF4-FFF2-40B4-BE49-F238E27FC236}">
                  <a16:creationId xmlns:a16="http://schemas.microsoft.com/office/drawing/2014/main" id="{88456325-6A93-A797-9CE9-F7CC51E87B95}"/>
                </a:ext>
              </a:extLst>
            </p:cNvPr>
            <p:cNvSpPr/>
            <p:nvPr/>
          </p:nvSpPr>
          <p:spPr>
            <a:xfrm>
              <a:off x="5839401" y="2303966"/>
              <a:ext cx="143062" cy="349225"/>
            </a:xfrm>
            <a:custGeom>
              <a:avLst/>
              <a:gdLst>
                <a:gd name="connsiteX0" fmla="*/ 400050 w 402422"/>
                <a:gd name="connsiteY0" fmla="*/ 882015 h 961151"/>
                <a:gd name="connsiteX1" fmla="*/ 391478 w 402422"/>
                <a:gd name="connsiteY1" fmla="*/ 862965 h 961151"/>
                <a:gd name="connsiteX2" fmla="*/ 391478 w 402422"/>
                <a:gd name="connsiteY2" fmla="*/ 862965 h 961151"/>
                <a:gd name="connsiteX3" fmla="*/ 337185 w 402422"/>
                <a:gd name="connsiteY3" fmla="*/ 782003 h 961151"/>
                <a:gd name="connsiteX4" fmla="*/ 260033 w 402422"/>
                <a:gd name="connsiteY4" fmla="*/ 179070 h 961151"/>
                <a:gd name="connsiteX5" fmla="*/ 260033 w 402422"/>
                <a:gd name="connsiteY5" fmla="*/ 179070 h 961151"/>
                <a:gd name="connsiteX6" fmla="*/ 258128 w 402422"/>
                <a:gd name="connsiteY6" fmla="*/ 168592 h 961151"/>
                <a:gd name="connsiteX7" fmla="*/ 247650 w 402422"/>
                <a:gd name="connsiteY7" fmla="*/ 143828 h 961151"/>
                <a:gd name="connsiteX8" fmla="*/ 247650 w 402422"/>
                <a:gd name="connsiteY8" fmla="*/ 143828 h 961151"/>
                <a:gd name="connsiteX9" fmla="*/ 154305 w 402422"/>
                <a:gd name="connsiteY9" fmla="*/ 0 h 961151"/>
                <a:gd name="connsiteX10" fmla="*/ 0 w 402422"/>
                <a:gd name="connsiteY10" fmla="*/ 114300 h 961151"/>
                <a:gd name="connsiteX11" fmla="*/ 98108 w 402422"/>
                <a:gd name="connsiteY11" fmla="*/ 230505 h 961151"/>
                <a:gd name="connsiteX12" fmla="*/ 250508 w 402422"/>
                <a:gd name="connsiteY12" fmla="*/ 809625 h 961151"/>
                <a:gd name="connsiteX13" fmla="*/ 250508 w 402422"/>
                <a:gd name="connsiteY13" fmla="*/ 809625 h 961151"/>
                <a:gd name="connsiteX14" fmla="*/ 278130 w 402422"/>
                <a:gd name="connsiteY14" fmla="*/ 914400 h 961151"/>
                <a:gd name="connsiteX15" fmla="*/ 355283 w 402422"/>
                <a:gd name="connsiteY15" fmla="*/ 959168 h 961151"/>
                <a:gd name="connsiteX16" fmla="*/ 400050 w 402422"/>
                <a:gd name="connsiteY16" fmla="*/ 882015 h 961151"/>
                <a:gd name="connsiteX17" fmla="*/ 400050 w 402422"/>
                <a:gd name="connsiteY17" fmla="*/ 882015 h 96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2422" h="961151">
                  <a:moveTo>
                    <a:pt x="400050" y="882015"/>
                  </a:moveTo>
                  <a:cubicBezTo>
                    <a:pt x="398145" y="875348"/>
                    <a:pt x="395288" y="868680"/>
                    <a:pt x="391478" y="862965"/>
                  </a:cubicBezTo>
                  <a:lnTo>
                    <a:pt x="391478" y="862965"/>
                  </a:lnTo>
                  <a:lnTo>
                    <a:pt x="337185" y="782003"/>
                  </a:lnTo>
                  <a:lnTo>
                    <a:pt x="260033" y="179070"/>
                  </a:lnTo>
                  <a:lnTo>
                    <a:pt x="260033" y="179070"/>
                  </a:lnTo>
                  <a:cubicBezTo>
                    <a:pt x="259080" y="175260"/>
                    <a:pt x="259080" y="171450"/>
                    <a:pt x="258128" y="168592"/>
                  </a:cubicBezTo>
                  <a:cubicBezTo>
                    <a:pt x="256223" y="160020"/>
                    <a:pt x="252413" y="151448"/>
                    <a:pt x="247650" y="143828"/>
                  </a:cubicBezTo>
                  <a:lnTo>
                    <a:pt x="247650" y="143828"/>
                  </a:lnTo>
                  <a:lnTo>
                    <a:pt x="154305" y="0"/>
                  </a:lnTo>
                  <a:lnTo>
                    <a:pt x="0" y="114300"/>
                  </a:lnTo>
                  <a:lnTo>
                    <a:pt x="98108" y="230505"/>
                  </a:lnTo>
                  <a:lnTo>
                    <a:pt x="250508" y="809625"/>
                  </a:lnTo>
                  <a:lnTo>
                    <a:pt x="250508" y="809625"/>
                  </a:lnTo>
                  <a:lnTo>
                    <a:pt x="278130" y="914400"/>
                  </a:lnTo>
                  <a:cubicBezTo>
                    <a:pt x="286703" y="947738"/>
                    <a:pt x="320993" y="967740"/>
                    <a:pt x="355283" y="959168"/>
                  </a:cubicBezTo>
                  <a:cubicBezTo>
                    <a:pt x="389573" y="949643"/>
                    <a:pt x="409575" y="915353"/>
                    <a:pt x="400050" y="882015"/>
                  </a:cubicBezTo>
                  <a:lnTo>
                    <a:pt x="400050" y="882015"/>
                  </a:lnTo>
                  <a:close/>
                </a:path>
              </a:pathLst>
            </a:custGeom>
            <a:solidFill>
              <a:srgbClr val="C69E8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6" name="Freeform: Shape 2202">
              <a:extLst>
                <a:ext uri="{FF2B5EF4-FFF2-40B4-BE49-F238E27FC236}">
                  <a16:creationId xmlns:a16="http://schemas.microsoft.com/office/drawing/2014/main" id="{57A01595-14C9-123E-ECCD-29CF66C89FBB}"/>
                </a:ext>
              </a:extLst>
            </p:cNvPr>
            <p:cNvSpPr/>
            <p:nvPr/>
          </p:nvSpPr>
          <p:spPr>
            <a:xfrm>
              <a:off x="5595598" y="2022602"/>
              <a:ext cx="146485" cy="209932"/>
            </a:xfrm>
            <a:custGeom>
              <a:avLst/>
              <a:gdLst>
                <a:gd name="connsiteX0" fmla="*/ 216217 w 412049"/>
                <a:gd name="connsiteY0" fmla="*/ 496253 h 577784"/>
                <a:gd name="connsiteX1" fmla="*/ 330517 w 412049"/>
                <a:gd name="connsiteY1" fmla="*/ 576263 h 577784"/>
                <a:gd name="connsiteX2" fmla="*/ 410528 w 412049"/>
                <a:gd name="connsiteY2" fmla="*/ 461963 h 577784"/>
                <a:gd name="connsiteX3" fmla="*/ 410528 w 412049"/>
                <a:gd name="connsiteY3" fmla="*/ 461963 h 577784"/>
                <a:gd name="connsiteX4" fmla="*/ 391478 w 412049"/>
                <a:gd name="connsiteY4" fmla="*/ 354330 h 577784"/>
                <a:gd name="connsiteX5" fmla="*/ 362903 w 412049"/>
                <a:gd name="connsiteY5" fmla="*/ 193357 h 577784"/>
                <a:gd name="connsiteX6" fmla="*/ 362903 w 412049"/>
                <a:gd name="connsiteY6" fmla="*/ 193357 h 577784"/>
                <a:gd name="connsiteX7" fmla="*/ 404812 w 412049"/>
                <a:gd name="connsiteY7" fmla="*/ 145732 h 577784"/>
                <a:gd name="connsiteX8" fmla="*/ 357187 w 412049"/>
                <a:gd name="connsiteY8" fmla="*/ 103823 h 577784"/>
                <a:gd name="connsiteX9" fmla="*/ 348615 w 412049"/>
                <a:gd name="connsiteY9" fmla="*/ 104775 h 577784"/>
                <a:gd name="connsiteX10" fmla="*/ 348615 w 412049"/>
                <a:gd name="connsiteY10" fmla="*/ 104775 h 577784"/>
                <a:gd name="connsiteX11" fmla="*/ 180022 w 412049"/>
                <a:gd name="connsiteY11" fmla="*/ 59055 h 577784"/>
                <a:gd name="connsiteX12" fmla="*/ 180022 w 412049"/>
                <a:gd name="connsiteY12" fmla="*/ 59055 h 577784"/>
                <a:gd name="connsiteX13" fmla="*/ 953 w 412049"/>
                <a:gd name="connsiteY13" fmla="*/ 0 h 577784"/>
                <a:gd name="connsiteX14" fmla="*/ 0 w 412049"/>
                <a:gd name="connsiteY14" fmla="*/ 203835 h 577784"/>
                <a:gd name="connsiteX15" fmla="*/ 0 w 412049"/>
                <a:gd name="connsiteY15" fmla="*/ 236220 h 577784"/>
                <a:gd name="connsiteX16" fmla="*/ 154305 w 412049"/>
                <a:gd name="connsiteY16" fmla="*/ 381953 h 577784"/>
                <a:gd name="connsiteX17" fmla="*/ 194310 w 412049"/>
                <a:gd name="connsiteY17" fmla="*/ 380048 h 577784"/>
                <a:gd name="connsiteX18" fmla="*/ 211455 w 412049"/>
                <a:gd name="connsiteY18" fmla="*/ 477203 h 577784"/>
                <a:gd name="connsiteX19" fmla="*/ 216217 w 412049"/>
                <a:gd name="connsiteY19" fmla="*/ 496253 h 577784"/>
                <a:gd name="connsiteX20" fmla="*/ 216217 w 412049"/>
                <a:gd name="connsiteY20" fmla="*/ 496253 h 577784"/>
                <a:gd name="connsiteX21" fmla="*/ 106680 w 412049"/>
                <a:gd name="connsiteY21" fmla="*/ 300038 h 577784"/>
                <a:gd name="connsiteX22" fmla="*/ 54292 w 412049"/>
                <a:gd name="connsiteY22" fmla="*/ 253365 h 577784"/>
                <a:gd name="connsiteX23" fmla="*/ 153353 w 412049"/>
                <a:gd name="connsiteY23" fmla="*/ 248602 h 577784"/>
                <a:gd name="connsiteX24" fmla="*/ 106680 w 412049"/>
                <a:gd name="connsiteY24" fmla="*/ 300038 h 577784"/>
                <a:gd name="connsiteX25" fmla="*/ 106680 w 412049"/>
                <a:gd name="connsiteY25" fmla="*/ 300038 h 577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2049" h="577784">
                  <a:moveTo>
                    <a:pt x="216217" y="496253"/>
                  </a:moveTo>
                  <a:cubicBezTo>
                    <a:pt x="225742" y="549593"/>
                    <a:pt x="277178" y="585788"/>
                    <a:pt x="330517" y="576263"/>
                  </a:cubicBezTo>
                  <a:cubicBezTo>
                    <a:pt x="383858" y="566738"/>
                    <a:pt x="420053" y="515303"/>
                    <a:pt x="410528" y="461963"/>
                  </a:cubicBezTo>
                  <a:lnTo>
                    <a:pt x="410528" y="461963"/>
                  </a:lnTo>
                  <a:lnTo>
                    <a:pt x="391478" y="354330"/>
                  </a:lnTo>
                  <a:lnTo>
                    <a:pt x="362903" y="193357"/>
                  </a:lnTo>
                  <a:lnTo>
                    <a:pt x="362903" y="193357"/>
                  </a:lnTo>
                  <a:cubicBezTo>
                    <a:pt x="387667" y="192405"/>
                    <a:pt x="406717" y="170498"/>
                    <a:pt x="404812" y="145732"/>
                  </a:cubicBezTo>
                  <a:cubicBezTo>
                    <a:pt x="403860" y="120967"/>
                    <a:pt x="381953" y="101917"/>
                    <a:pt x="357187" y="103823"/>
                  </a:cubicBezTo>
                  <a:lnTo>
                    <a:pt x="348615" y="104775"/>
                  </a:lnTo>
                  <a:lnTo>
                    <a:pt x="348615" y="104775"/>
                  </a:lnTo>
                  <a:cubicBezTo>
                    <a:pt x="288607" y="108585"/>
                    <a:pt x="229553" y="92392"/>
                    <a:pt x="180022" y="59055"/>
                  </a:cubicBezTo>
                  <a:lnTo>
                    <a:pt x="180022" y="59055"/>
                  </a:lnTo>
                  <a:cubicBezTo>
                    <a:pt x="126682" y="23813"/>
                    <a:pt x="64770" y="2857"/>
                    <a:pt x="953" y="0"/>
                  </a:cubicBezTo>
                  <a:lnTo>
                    <a:pt x="0" y="203835"/>
                  </a:lnTo>
                  <a:lnTo>
                    <a:pt x="0" y="236220"/>
                  </a:lnTo>
                  <a:cubicBezTo>
                    <a:pt x="0" y="320040"/>
                    <a:pt x="70485" y="386715"/>
                    <a:pt x="154305" y="381953"/>
                  </a:cubicBezTo>
                  <a:lnTo>
                    <a:pt x="194310" y="380048"/>
                  </a:lnTo>
                  <a:lnTo>
                    <a:pt x="211455" y="477203"/>
                  </a:lnTo>
                  <a:lnTo>
                    <a:pt x="216217" y="496253"/>
                  </a:lnTo>
                  <a:lnTo>
                    <a:pt x="216217" y="496253"/>
                  </a:lnTo>
                  <a:close/>
                  <a:moveTo>
                    <a:pt x="106680" y="300038"/>
                  </a:moveTo>
                  <a:cubicBezTo>
                    <a:pt x="79057" y="300990"/>
                    <a:pt x="56197" y="280988"/>
                    <a:pt x="54292" y="253365"/>
                  </a:cubicBezTo>
                  <a:lnTo>
                    <a:pt x="153353" y="248602"/>
                  </a:lnTo>
                  <a:cubicBezTo>
                    <a:pt x="155257" y="275273"/>
                    <a:pt x="134303" y="298132"/>
                    <a:pt x="106680" y="300038"/>
                  </a:cubicBezTo>
                  <a:lnTo>
                    <a:pt x="106680" y="300038"/>
                  </a:lnTo>
                  <a:close/>
                </a:path>
              </a:pathLst>
            </a:custGeom>
            <a:solidFill>
              <a:srgbClr val="C69E8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7" name="Freeform: Shape 2203">
              <a:extLst>
                <a:ext uri="{FF2B5EF4-FFF2-40B4-BE49-F238E27FC236}">
                  <a16:creationId xmlns:a16="http://schemas.microsoft.com/office/drawing/2014/main" id="{0E1BD002-585A-71F8-CF66-1B8D9FA6C8CB}"/>
                </a:ext>
              </a:extLst>
            </p:cNvPr>
            <p:cNvSpPr/>
            <p:nvPr/>
          </p:nvSpPr>
          <p:spPr>
            <a:xfrm>
              <a:off x="5558479" y="1927561"/>
              <a:ext cx="242076" cy="225925"/>
            </a:xfrm>
            <a:custGeom>
              <a:avLst/>
              <a:gdLst>
                <a:gd name="connsiteX0" fmla="*/ 285387 w 680938"/>
                <a:gd name="connsiteY0" fmla="*/ 319677 h 621801"/>
                <a:gd name="connsiteX1" fmla="*/ 285387 w 680938"/>
                <a:gd name="connsiteY1" fmla="*/ 319677 h 621801"/>
                <a:gd name="connsiteX2" fmla="*/ 453979 w 680938"/>
                <a:gd name="connsiteY2" fmla="*/ 365397 h 621801"/>
                <a:gd name="connsiteX3" fmla="*/ 453979 w 680938"/>
                <a:gd name="connsiteY3" fmla="*/ 365397 h 621801"/>
                <a:gd name="connsiteX4" fmla="*/ 462552 w 680938"/>
                <a:gd name="connsiteY4" fmla="*/ 364444 h 621801"/>
                <a:gd name="connsiteX5" fmla="*/ 510177 w 680938"/>
                <a:gd name="connsiteY5" fmla="*/ 406354 h 621801"/>
                <a:gd name="connsiteX6" fmla="*/ 468267 w 680938"/>
                <a:gd name="connsiteY6" fmla="*/ 453979 h 621801"/>
                <a:gd name="connsiteX7" fmla="*/ 468267 w 680938"/>
                <a:gd name="connsiteY7" fmla="*/ 453979 h 621801"/>
                <a:gd name="connsiteX8" fmla="*/ 496842 w 680938"/>
                <a:gd name="connsiteY8" fmla="*/ 614952 h 621801"/>
                <a:gd name="connsiteX9" fmla="*/ 548277 w 680938"/>
                <a:gd name="connsiteY9" fmla="*/ 621619 h 621801"/>
                <a:gd name="connsiteX10" fmla="*/ 680674 w 680938"/>
                <a:gd name="connsiteY10" fmla="*/ 473029 h 621801"/>
                <a:gd name="connsiteX11" fmla="*/ 616857 w 680938"/>
                <a:gd name="connsiteY11" fmla="*/ 363492 h 621801"/>
                <a:gd name="connsiteX12" fmla="*/ 620667 w 680938"/>
                <a:gd name="connsiteY12" fmla="*/ 292054 h 621801"/>
                <a:gd name="connsiteX13" fmla="*/ 292054 w 680938"/>
                <a:gd name="connsiteY13" fmla="*/ 589 h 621801"/>
                <a:gd name="connsiteX14" fmla="*/ 589 w 680938"/>
                <a:gd name="connsiteY14" fmla="*/ 329202 h 621801"/>
                <a:gd name="connsiteX15" fmla="*/ 589 w 680938"/>
                <a:gd name="connsiteY15" fmla="*/ 329202 h 621801"/>
                <a:gd name="connsiteX16" fmla="*/ 106317 w 680938"/>
                <a:gd name="connsiteY16" fmla="*/ 465409 h 621801"/>
                <a:gd name="connsiteX17" fmla="*/ 107269 w 680938"/>
                <a:gd name="connsiteY17" fmla="*/ 261574 h 621801"/>
                <a:gd name="connsiteX18" fmla="*/ 285387 w 680938"/>
                <a:gd name="connsiteY18" fmla="*/ 319677 h 621801"/>
                <a:gd name="connsiteX19" fmla="*/ 285387 w 680938"/>
                <a:gd name="connsiteY19" fmla="*/ 319677 h 621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0938" h="621801">
                  <a:moveTo>
                    <a:pt x="285387" y="319677"/>
                  </a:moveTo>
                  <a:lnTo>
                    <a:pt x="285387" y="319677"/>
                  </a:lnTo>
                  <a:cubicBezTo>
                    <a:pt x="334917" y="353014"/>
                    <a:pt x="393972" y="369207"/>
                    <a:pt x="453979" y="365397"/>
                  </a:cubicBezTo>
                  <a:lnTo>
                    <a:pt x="453979" y="365397"/>
                  </a:lnTo>
                  <a:lnTo>
                    <a:pt x="462552" y="364444"/>
                  </a:lnTo>
                  <a:cubicBezTo>
                    <a:pt x="487317" y="363492"/>
                    <a:pt x="508272" y="381589"/>
                    <a:pt x="510177" y="406354"/>
                  </a:cubicBezTo>
                  <a:cubicBezTo>
                    <a:pt x="511129" y="431119"/>
                    <a:pt x="493032" y="452074"/>
                    <a:pt x="468267" y="453979"/>
                  </a:cubicBezTo>
                  <a:lnTo>
                    <a:pt x="468267" y="453979"/>
                  </a:lnTo>
                  <a:lnTo>
                    <a:pt x="496842" y="614952"/>
                  </a:lnTo>
                  <a:cubicBezTo>
                    <a:pt x="513034" y="619714"/>
                    <a:pt x="530179" y="622572"/>
                    <a:pt x="548277" y="621619"/>
                  </a:cubicBezTo>
                  <a:cubicBezTo>
                    <a:pt x="625429" y="616857"/>
                    <a:pt x="685436" y="550182"/>
                    <a:pt x="680674" y="473029"/>
                  </a:cubicBezTo>
                  <a:cubicBezTo>
                    <a:pt x="677817" y="426357"/>
                    <a:pt x="653052" y="387304"/>
                    <a:pt x="616857" y="363492"/>
                  </a:cubicBezTo>
                  <a:cubicBezTo>
                    <a:pt x="620667" y="340632"/>
                    <a:pt x="622572" y="316819"/>
                    <a:pt x="620667" y="292054"/>
                  </a:cubicBezTo>
                  <a:cubicBezTo>
                    <a:pt x="610189" y="120604"/>
                    <a:pt x="463504" y="-9888"/>
                    <a:pt x="292054" y="589"/>
                  </a:cubicBezTo>
                  <a:cubicBezTo>
                    <a:pt x="120604" y="11067"/>
                    <a:pt x="-9888" y="157752"/>
                    <a:pt x="589" y="329202"/>
                  </a:cubicBezTo>
                  <a:lnTo>
                    <a:pt x="589" y="329202"/>
                  </a:lnTo>
                  <a:cubicBezTo>
                    <a:pt x="4399" y="393972"/>
                    <a:pt x="48214" y="446359"/>
                    <a:pt x="106317" y="465409"/>
                  </a:cubicBezTo>
                  <a:lnTo>
                    <a:pt x="107269" y="261574"/>
                  </a:lnTo>
                  <a:cubicBezTo>
                    <a:pt x="169182" y="264432"/>
                    <a:pt x="231094" y="284434"/>
                    <a:pt x="285387" y="319677"/>
                  </a:cubicBezTo>
                  <a:lnTo>
                    <a:pt x="285387" y="319677"/>
                  </a:lnTo>
                  <a:close/>
                </a:path>
              </a:pathLst>
            </a:custGeom>
            <a:solidFill>
              <a:srgbClr val="A37E5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8" name="Freeform: Shape 2204">
              <a:extLst>
                <a:ext uri="{FF2B5EF4-FFF2-40B4-BE49-F238E27FC236}">
                  <a16:creationId xmlns:a16="http://schemas.microsoft.com/office/drawing/2014/main" id="{8DE77FF2-A6A6-B6DA-4040-174959DD830D}"/>
                </a:ext>
              </a:extLst>
            </p:cNvPr>
            <p:cNvSpPr/>
            <p:nvPr/>
          </p:nvSpPr>
          <p:spPr>
            <a:xfrm>
              <a:off x="5615237" y="2112583"/>
              <a:ext cx="34920" cy="19078"/>
            </a:xfrm>
            <a:custGeom>
              <a:avLst/>
              <a:gdLst>
                <a:gd name="connsiteX0" fmla="*/ 98108 w 98227"/>
                <a:gd name="connsiteY0" fmla="*/ 0 h 52507"/>
                <a:gd name="connsiteX1" fmla="*/ 0 w 98227"/>
                <a:gd name="connsiteY1" fmla="*/ 5715 h 52507"/>
                <a:gd name="connsiteX2" fmla="*/ 52388 w 98227"/>
                <a:gd name="connsiteY2" fmla="*/ 52388 h 52507"/>
                <a:gd name="connsiteX3" fmla="*/ 98108 w 98227"/>
                <a:gd name="connsiteY3" fmla="*/ 0 h 52507"/>
                <a:gd name="connsiteX4" fmla="*/ 98108 w 98227"/>
                <a:gd name="connsiteY4" fmla="*/ 0 h 52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227" h="52507">
                  <a:moveTo>
                    <a:pt x="98108" y="0"/>
                  </a:moveTo>
                  <a:lnTo>
                    <a:pt x="0" y="5715"/>
                  </a:lnTo>
                  <a:cubicBezTo>
                    <a:pt x="953" y="33338"/>
                    <a:pt x="24765" y="54292"/>
                    <a:pt x="52388" y="52388"/>
                  </a:cubicBezTo>
                  <a:cubicBezTo>
                    <a:pt x="79058" y="50482"/>
                    <a:pt x="100013" y="27623"/>
                    <a:pt x="98108" y="0"/>
                  </a:cubicBezTo>
                  <a:lnTo>
                    <a:pt x="98108" y="0"/>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9" name="Freeform: Shape 2205">
              <a:extLst>
                <a:ext uri="{FF2B5EF4-FFF2-40B4-BE49-F238E27FC236}">
                  <a16:creationId xmlns:a16="http://schemas.microsoft.com/office/drawing/2014/main" id="{773F92AD-27C1-9336-A0F6-0D2535E99CA5}"/>
                </a:ext>
              </a:extLst>
            </p:cNvPr>
            <p:cNvSpPr/>
            <p:nvPr/>
          </p:nvSpPr>
          <p:spPr>
            <a:xfrm>
              <a:off x="5620994" y="3245307"/>
              <a:ext cx="94474" cy="29417"/>
            </a:xfrm>
            <a:custGeom>
              <a:avLst/>
              <a:gdLst>
                <a:gd name="connsiteX0" fmla="*/ 160020 w 265747"/>
                <a:gd name="connsiteY0" fmla="*/ 2857 h 80962"/>
                <a:gd name="connsiteX1" fmla="*/ 151447 w 265747"/>
                <a:gd name="connsiteY1" fmla="*/ 0 h 80962"/>
                <a:gd name="connsiteX2" fmla="*/ 18097 w 265747"/>
                <a:gd name="connsiteY2" fmla="*/ 34290 h 80962"/>
                <a:gd name="connsiteX3" fmla="*/ 0 w 265747"/>
                <a:gd name="connsiteY3" fmla="*/ 56197 h 80962"/>
                <a:gd name="connsiteX4" fmla="*/ 35242 w 265747"/>
                <a:gd name="connsiteY4" fmla="*/ 80963 h 80962"/>
                <a:gd name="connsiteX5" fmla="*/ 265747 w 265747"/>
                <a:gd name="connsiteY5" fmla="*/ 80963 h 80962"/>
                <a:gd name="connsiteX6" fmla="*/ 265747 w 265747"/>
                <a:gd name="connsiteY6" fmla="*/ 0 h 80962"/>
                <a:gd name="connsiteX7" fmla="*/ 147638 w 265747"/>
                <a:gd name="connsiteY7" fmla="*/ 0 h 80962"/>
                <a:gd name="connsiteX8" fmla="*/ 160020 w 265747"/>
                <a:gd name="connsiteY8" fmla="*/ 2857 h 8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5747" h="80962">
                  <a:moveTo>
                    <a:pt x="160020" y="2857"/>
                  </a:moveTo>
                  <a:lnTo>
                    <a:pt x="151447" y="0"/>
                  </a:lnTo>
                  <a:lnTo>
                    <a:pt x="18097" y="34290"/>
                  </a:lnTo>
                  <a:cubicBezTo>
                    <a:pt x="6667" y="39052"/>
                    <a:pt x="0" y="46672"/>
                    <a:pt x="0" y="56197"/>
                  </a:cubicBezTo>
                  <a:cubicBezTo>
                    <a:pt x="0" y="70485"/>
                    <a:pt x="16192" y="80963"/>
                    <a:pt x="35242" y="80963"/>
                  </a:cubicBezTo>
                  <a:lnTo>
                    <a:pt x="265747" y="80963"/>
                  </a:lnTo>
                  <a:lnTo>
                    <a:pt x="265747" y="0"/>
                  </a:lnTo>
                  <a:lnTo>
                    <a:pt x="147638" y="0"/>
                  </a:lnTo>
                  <a:lnTo>
                    <a:pt x="160020" y="2857"/>
                  </a:lnTo>
                  <a:close/>
                </a:path>
              </a:pathLst>
            </a:custGeom>
            <a:solidFill>
              <a:srgbClr val="B3B3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0" name="Freeform: Shape 2206">
              <a:extLst>
                <a:ext uri="{FF2B5EF4-FFF2-40B4-BE49-F238E27FC236}">
                  <a16:creationId xmlns:a16="http://schemas.microsoft.com/office/drawing/2014/main" id="{70784763-EBA8-D6F4-73C9-B99B1151B966}"/>
                </a:ext>
              </a:extLst>
            </p:cNvPr>
            <p:cNvSpPr/>
            <p:nvPr/>
          </p:nvSpPr>
          <p:spPr>
            <a:xfrm>
              <a:off x="5133047" y="2567334"/>
              <a:ext cx="49776" cy="62986"/>
            </a:xfrm>
            <a:custGeom>
              <a:avLst/>
              <a:gdLst>
                <a:gd name="connsiteX0" fmla="*/ 135255 w 140017"/>
                <a:gd name="connsiteY0" fmla="*/ 173355 h 173354"/>
                <a:gd name="connsiteX1" fmla="*/ 140018 w 140017"/>
                <a:gd name="connsiteY1" fmla="*/ 65722 h 173354"/>
                <a:gd name="connsiteX2" fmla="*/ 17145 w 140017"/>
                <a:gd name="connsiteY2" fmla="*/ 0 h 173354"/>
                <a:gd name="connsiteX3" fmla="*/ 14288 w 140017"/>
                <a:gd name="connsiteY3" fmla="*/ 56197 h 173354"/>
                <a:gd name="connsiteX4" fmla="*/ 5715 w 140017"/>
                <a:gd name="connsiteY4" fmla="*/ 56197 h 173354"/>
                <a:gd name="connsiteX5" fmla="*/ 0 w 140017"/>
                <a:gd name="connsiteY5" fmla="*/ 173355 h 173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017" h="173354">
                  <a:moveTo>
                    <a:pt x="135255" y="173355"/>
                  </a:moveTo>
                  <a:lnTo>
                    <a:pt x="140018" y="65722"/>
                  </a:lnTo>
                  <a:lnTo>
                    <a:pt x="17145" y="0"/>
                  </a:lnTo>
                  <a:lnTo>
                    <a:pt x="14288" y="56197"/>
                  </a:lnTo>
                  <a:lnTo>
                    <a:pt x="5715" y="56197"/>
                  </a:lnTo>
                  <a:lnTo>
                    <a:pt x="0" y="173355"/>
                  </a:lnTo>
                  <a:close/>
                </a:path>
              </a:pathLst>
            </a:custGeom>
            <a:no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1" name="Freeform: Shape 2207">
              <a:extLst>
                <a:ext uri="{FF2B5EF4-FFF2-40B4-BE49-F238E27FC236}">
                  <a16:creationId xmlns:a16="http://schemas.microsoft.com/office/drawing/2014/main" id="{8B356C8B-71DD-9395-8729-0AC25B540E5B}"/>
                </a:ext>
              </a:extLst>
            </p:cNvPr>
            <p:cNvSpPr/>
            <p:nvPr/>
          </p:nvSpPr>
          <p:spPr>
            <a:xfrm>
              <a:off x="4719423" y="2401215"/>
              <a:ext cx="469496" cy="373422"/>
            </a:xfrm>
            <a:custGeom>
              <a:avLst/>
              <a:gdLst>
                <a:gd name="connsiteX0" fmla="*/ 1180635 w 1320652"/>
                <a:gd name="connsiteY0" fmla="*/ 460058 h 1027747"/>
                <a:gd name="connsiteX1" fmla="*/ 1303508 w 1320652"/>
                <a:gd name="connsiteY1" fmla="*/ 521970 h 1027747"/>
                <a:gd name="connsiteX2" fmla="*/ 1320653 w 1320652"/>
                <a:gd name="connsiteY2" fmla="*/ 160020 h 1027747"/>
                <a:gd name="connsiteX3" fmla="*/ 1173015 w 1320652"/>
                <a:gd name="connsiteY3" fmla="*/ 40005 h 1027747"/>
                <a:gd name="connsiteX4" fmla="*/ 1173015 w 1320652"/>
                <a:gd name="connsiteY4" fmla="*/ 40005 h 1027747"/>
                <a:gd name="connsiteX5" fmla="*/ 1143488 w 1320652"/>
                <a:gd name="connsiteY5" fmla="*/ 20955 h 1027747"/>
                <a:gd name="connsiteX6" fmla="*/ 1073003 w 1320652"/>
                <a:gd name="connsiteY6" fmla="*/ 952 h 1027747"/>
                <a:gd name="connsiteX7" fmla="*/ 1061573 w 1320652"/>
                <a:gd name="connsiteY7" fmla="*/ 0 h 1027747"/>
                <a:gd name="connsiteX8" fmla="*/ 1058715 w 1320652"/>
                <a:gd name="connsiteY8" fmla="*/ 0 h 1027747"/>
                <a:gd name="connsiteX9" fmla="*/ 1057763 w 1320652"/>
                <a:gd name="connsiteY9" fmla="*/ 0 h 1027747"/>
                <a:gd name="connsiteX10" fmla="*/ 942510 w 1320652"/>
                <a:gd name="connsiteY10" fmla="*/ 0 h 1027747"/>
                <a:gd name="connsiteX11" fmla="*/ 942510 w 1320652"/>
                <a:gd name="connsiteY11" fmla="*/ 6667 h 1027747"/>
                <a:gd name="connsiteX12" fmla="*/ 942510 w 1320652"/>
                <a:gd name="connsiteY12" fmla="*/ 6667 h 1027747"/>
                <a:gd name="connsiteX13" fmla="*/ 823448 w 1320652"/>
                <a:gd name="connsiteY13" fmla="*/ 112395 h 1027747"/>
                <a:gd name="connsiteX14" fmla="*/ 717720 w 1320652"/>
                <a:gd name="connsiteY14" fmla="*/ 0 h 1027747"/>
                <a:gd name="connsiteX15" fmla="*/ 571035 w 1320652"/>
                <a:gd name="connsiteY15" fmla="*/ 0 h 1027747"/>
                <a:gd name="connsiteX16" fmla="*/ 571035 w 1320652"/>
                <a:gd name="connsiteY16" fmla="*/ 0 h 1027747"/>
                <a:gd name="connsiteX17" fmla="*/ 571035 w 1320652"/>
                <a:gd name="connsiteY17" fmla="*/ 0 h 1027747"/>
                <a:gd name="connsiteX18" fmla="*/ 556748 w 1320652"/>
                <a:gd name="connsiteY18" fmla="*/ 952 h 1027747"/>
                <a:gd name="connsiteX19" fmla="*/ 471975 w 1320652"/>
                <a:gd name="connsiteY19" fmla="*/ 32385 h 1027747"/>
                <a:gd name="connsiteX20" fmla="*/ 445305 w 1320652"/>
                <a:gd name="connsiteY20" fmla="*/ 55245 h 1027747"/>
                <a:gd name="connsiteX21" fmla="*/ 445305 w 1320652"/>
                <a:gd name="connsiteY21" fmla="*/ 55245 h 1027747"/>
                <a:gd name="connsiteX22" fmla="*/ 34778 w 1320652"/>
                <a:gd name="connsiteY22" fmla="*/ 477202 h 1027747"/>
                <a:gd name="connsiteX23" fmla="*/ 34778 w 1320652"/>
                <a:gd name="connsiteY23" fmla="*/ 477202 h 1027747"/>
                <a:gd name="connsiteX24" fmla="*/ 2393 w 1320652"/>
                <a:gd name="connsiteY24" fmla="*/ 539115 h 1027747"/>
                <a:gd name="connsiteX25" fmla="*/ 98595 w 1320652"/>
                <a:gd name="connsiteY25" fmla="*/ 682943 h 1027747"/>
                <a:gd name="connsiteX26" fmla="*/ 122408 w 1320652"/>
                <a:gd name="connsiteY26" fmla="*/ 684847 h 1027747"/>
                <a:gd name="connsiteX27" fmla="*/ 122408 w 1320652"/>
                <a:gd name="connsiteY27" fmla="*/ 684847 h 1027747"/>
                <a:gd name="connsiteX28" fmla="*/ 472928 w 1320652"/>
                <a:gd name="connsiteY28" fmla="*/ 684847 h 1027747"/>
                <a:gd name="connsiteX29" fmla="*/ 482453 w 1320652"/>
                <a:gd name="connsiteY29" fmla="*/ 877252 h 1027747"/>
                <a:gd name="connsiteX30" fmla="*/ 487215 w 1320652"/>
                <a:gd name="connsiteY30" fmla="*/ 878205 h 1027747"/>
                <a:gd name="connsiteX31" fmla="*/ 487215 w 1320652"/>
                <a:gd name="connsiteY31" fmla="*/ 878205 h 1027747"/>
                <a:gd name="connsiteX32" fmla="*/ 907268 w 1320652"/>
                <a:gd name="connsiteY32" fmla="*/ 1027748 h 1027747"/>
                <a:gd name="connsiteX33" fmla="*/ 1145393 w 1320652"/>
                <a:gd name="connsiteY33" fmla="*/ 1027748 h 1027747"/>
                <a:gd name="connsiteX34" fmla="*/ 1145393 w 1320652"/>
                <a:gd name="connsiteY34" fmla="*/ 1027748 h 1027747"/>
                <a:gd name="connsiteX35" fmla="*/ 1162538 w 1320652"/>
                <a:gd name="connsiteY35" fmla="*/ 684847 h 1027747"/>
                <a:gd name="connsiteX36" fmla="*/ 911078 w 1320652"/>
                <a:gd name="connsiteY36" fmla="*/ 684847 h 1027747"/>
                <a:gd name="connsiteX37" fmla="*/ 911078 w 1320652"/>
                <a:gd name="connsiteY37" fmla="*/ 684847 h 1027747"/>
                <a:gd name="connsiteX38" fmla="*/ 831068 w 1320652"/>
                <a:gd name="connsiteY38" fmla="*/ 684847 h 1027747"/>
                <a:gd name="connsiteX39" fmla="*/ 831068 w 1320652"/>
                <a:gd name="connsiteY39" fmla="*/ 684847 h 1027747"/>
                <a:gd name="connsiteX40" fmla="*/ 792015 w 1320652"/>
                <a:gd name="connsiteY40" fmla="*/ 684847 h 1027747"/>
                <a:gd name="connsiteX41" fmla="*/ 792015 w 1320652"/>
                <a:gd name="connsiteY41" fmla="*/ 568643 h 1027747"/>
                <a:gd name="connsiteX42" fmla="*/ 790110 w 1320652"/>
                <a:gd name="connsiteY42" fmla="*/ 577215 h 1027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20652" h="1027747">
                  <a:moveTo>
                    <a:pt x="1180635" y="460058"/>
                  </a:moveTo>
                  <a:lnTo>
                    <a:pt x="1303508" y="521970"/>
                  </a:lnTo>
                  <a:lnTo>
                    <a:pt x="1320653" y="160020"/>
                  </a:lnTo>
                  <a:lnTo>
                    <a:pt x="1173015" y="40005"/>
                  </a:lnTo>
                  <a:lnTo>
                    <a:pt x="1173015" y="40005"/>
                  </a:lnTo>
                  <a:cubicBezTo>
                    <a:pt x="1164443" y="32385"/>
                    <a:pt x="1154918" y="26670"/>
                    <a:pt x="1143488" y="20955"/>
                  </a:cubicBezTo>
                  <a:cubicBezTo>
                    <a:pt x="1120628" y="8572"/>
                    <a:pt x="1096815" y="1905"/>
                    <a:pt x="1073003" y="952"/>
                  </a:cubicBezTo>
                  <a:cubicBezTo>
                    <a:pt x="1069193" y="952"/>
                    <a:pt x="1065383" y="0"/>
                    <a:pt x="1061573" y="0"/>
                  </a:cubicBezTo>
                  <a:lnTo>
                    <a:pt x="1058715" y="0"/>
                  </a:lnTo>
                  <a:cubicBezTo>
                    <a:pt x="1058715" y="0"/>
                    <a:pt x="1057763" y="0"/>
                    <a:pt x="1057763" y="0"/>
                  </a:cubicBezTo>
                  <a:lnTo>
                    <a:pt x="942510" y="0"/>
                  </a:lnTo>
                  <a:lnTo>
                    <a:pt x="942510" y="6667"/>
                  </a:lnTo>
                  <a:lnTo>
                    <a:pt x="942510" y="6667"/>
                  </a:lnTo>
                  <a:cubicBezTo>
                    <a:pt x="938700" y="68580"/>
                    <a:pt x="886313" y="116205"/>
                    <a:pt x="823448" y="112395"/>
                  </a:cubicBezTo>
                  <a:cubicBezTo>
                    <a:pt x="763440" y="108585"/>
                    <a:pt x="717720" y="59055"/>
                    <a:pt x="717720" y="0"/>
                  </a:cubicBezTo>
                  <a:lnTo>
                    <a:pt x="571035" y="0"/>
                  </a:lnTo>
                  <a:cubicBezTo>
                    <a:pt x="571035" y="0"/>
                    <a:pt x="571035" y="0"/>
                    <a:pt x="571035" y="0"/>
                  </a:cubicBezTo>
                  <a:lnTo>
                    <a:pt x="571035" y="0"/>
                  </a:lnTo>
                  <a:cubicBezTo>
                    <a:pt x="566273" y="0"/>
                    <a:pt x="561510" y="0"/>
                    <a:pt x="556748" y="952"/>
                  </a:cubicBezTo>
                  <a:cubicBezTo>
                    <a:pt x="527220" y="3810"/>
                    <a:pt x="497693" y="14288"/>
                    <a:pt x="471975" y="32385"/>
                  </a:cubicBezTo>
                  <a:cubicBezTo>
                    <a:pt x="462450" y="39052"/>
                    <a:pt x="453878" y="46672"/>
                    <a:pt x="445305" y="55245"/>
                  </a:cubicBezTo>
                  <a:lnTo>
                    <a:pt x="445305" y="55245"/>
                  </a:lnTo>
                  <a:lnTo>
                    <a:pt x="34778" y="477202"/>
                  </a:lnTo>
                  <a:lnTo>
                    <a:pt x="34778" y="477202"/>
                  </a:lnTo>
                  <a:cubicBezTo>
                    <a:pt x="18585" y="493395"/>
                    <a:pt x="7155" y="515302"/>
                    <a:pt x="2393" y="539115"/>
                  </a:cubicBezTo>
                  <a:cubicBezTo>
                    <a:pt x="-10942" y="605790"/>
                    <a:pt x="32873" y="669608"/>
                    <a:pt x="98595" y="682943"/>
                  </a:cubicBezTo>
                  <a:cubicBezTo>
                    <a:pt x="106215" y="684847"/>
                    <a:pt x="114788" y="684847"/>
                    <a:pt x="122408" y="684847"/>
                  </a:cubicBezTo>
                  <a:lnTo>
                    <a:pt x="122408" y="684847"/>
                  </a:lnTo>
                  <a:lnTo>
                    <a:pt x="472928" y="684847"/>
                  </a:lnTo>
                  <a:lnTo>
                    <a:pt x="482453" y="877252"/>
                  </a:lnTo>
                  <a:cubicBezTo>
                    <a:pt x="484358" y="877252"/>
                    <a:pt x="485310" y="878205"/>
                    <a:pt x="487215" y="878205"/>
                  </a:cubicBezTo>
                  <a:lnTo>
                    <a:pt x="487215" y="878205"/>
                  </a:lnTo>
                  <a:lnTo>
                    <a:pt x="907268" y="1027748"/>
                  </a:lnTo>
                  <a:lnTo>
                    <a:pt x="1145393" y="1027748"/>
                  </a:lnTo>
                  <a:lnTo>
                    <a:pt x="1145393" y="1027748"/>
                  </a:lnTo>
                  <a:lnTo>
                    <a:pt x="1162538" y="684847"/>
                  </a:lnTo>
                  <a:lnTo>
                    <a:pt x="911078" y="684847"/>
                  </a:lnTo>
                  <a:lnTo>
                    <a:pt x="911078" y="684847"/>
                  </a:lnTo>
                  <a:lnTo>
                    <a:pt x="831068" y="684847"/>
                  </a:lnTo>
                  <a:lnTo>
                    <a:pt x="831068" y="684847"/>
                  </a:lnTo>
                  <a:lnTo>
                    <a:pt x="792015" y="684847"/>
                  </a:lnTo>
                  <a:lnTo>
                    <a:pt x="792015" y="568643"/>
                  </a:lnTo>
                  <a:lnTo>
                    <a:pt x="790110" y="577215"/>
                  </a:lnTo>
                </a:path>
              </a:pathLst>
            </a:custGeom>
            <a:solidFill>
              <a:schemeClr val="accent5">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2" name="Freeform: Shape 2208">
              <a:extLst>
                <a:ext uri="{FF2B5EF4-FFF2-40B4-BE49-F238E27FC236}">
                  <a16:creationId xmlns:a16="http://schemas.microsoft.com/office/drawing/2014/main" id="{52453193-3C1E-E5B4-F79A-F90111853AA5}"/>
                </a:ext>
              </a:extLst>
            </p:cNvPr>
            <p:cNvSpPr/>
            <p:nvPr/>
          </p:nvSpPr>
          <p:spPr>
            <a:xfrm>
              <a:off x="5000987" y="2563527"/>
              <a:ext cx="138155" cy="66447"/>
            </a:xfrm>
            <a:custGeom>
              <a:avLst/>
              <a:gdLst>
                <a:gd name="connsiteX0" fmla="*/ 1905 w 388619"/>
                <a:gd name="connsiteY0" fmla="*/ 112395 h 182879"/>
                <a:gd name="connsiteX1" fmla="*/ 0 w 388619"/>
                <a:gd name="connsiteY1" fmla="*/ 120967 h 182879"/>
                <a:gd name="connsiteX2" fmla="*/ 34290 w 388619"/>
                <a:gd name="connsiteY2" fmla="*/ 127635 h 182879"/>
                <a:gd name="connsiteX3" fmla="*/ 141922 w 388619"/>
                <a:gd name="connsiteY3" fmla="*/ 96203 h 182879"/>
                <a:gd name="connsiteX4" fmla="*/ 231457 w 388619"/>
                <a:gd name="connsiteY4" fmla="*/ 144780 h 182879"/>
                <a:gd name="connsiteX5" fmla="*/ 232410 w 388619"/>
                <a:gd name="connsiteY5" fmla="*/ 182880 h 182879"/>
                <a:gd name="connsiteX6" fmla="*/ 371475 w 388619"/>
                <a:gd name="connsiteY6" fmla="*/ 182880 h 182879"/>
                <a:gd name="connsiteX7" fmla="*/ 384810 w 388619"/>
                <a:gd name="connsiteY7" fmla="*/ 65723 h 182879"/>
                <a:gd name="connsiteX8" fmla="*/ 388620 w 388619"/>
                <a:gd name="connsiteY8" fmla="*/ 13335 h 182879"/>
                <a:gd name="connsiteX9" fmla="*/ 371475 w 388619"/>
                <a:gd name="connsiteY9" fmla="*/ 0 h 182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8619" h="182879">
                  <a:moveTo>
                    <a:pt x="1905" y="112395"/>
                  </a:moveTo>
                  <a:lnTo>
                    <a:pt x="0" y="120967"/>
                  </a:lnTo>
                  <a:lnTo>
                    <a:pt x="34290" y="127635"/>
                  </a:lnTo>
                  <a:lnTo>
                    <a:pt x="141922" y="96203"/>
                  </a:lnTo>
                  <a:cubicBezTo>
                    <a:pt x="180022" y="84773"/>
                    <a:pt x="220028" y="106680"/>
                    <a:pt x="231457" y="144780"/>
                  </a:cubicBezTo>
                  <a:cubicBezTo>
                    <a:pt x="235268" y="158115"/>
                    <a:pt x="235268" y="171450"/>
                    <a:pt x="232410" y="182880"/>
                  </a:cubicBezTo>
                  <a:lnTo>
                    <a:pt x="371475" y="182880"/>
                  </a:lnTo>
                  <a:lnTo>
                    <a:pt x="384810" y="65723"/>
                  </a:lnTo>
                  <a:lnTo>
                    <a:pt x="388620" y="13335"/>
                  </a:lnTo>
                  <a:lnTo>
                    <a:pt x="371475" y="0"/>
                  </a:lnTo>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3" name="Freeform: Shape 2209">
              <a:extLst>
                <a:ext uri="{FF2B5EF4-FFF2-40B4-BE49-F238E27FC236}">
                  <a16:creationId xmlns:a16="http://schemas.microsoft.com/office/drawing/2014/main" id="{6D5DCE91-B4B2-A9AB-8B38-467F5EBC2737}"/>
                </a:ext>
              </a:extLst>
            </p:cNvPr>
            <p:cNvSpPr/>
            <p:nvPr/>
          </p:nvSpPr>
          <p:spPr>
            <a:xfrm>
              <a:off x="4842776" y="2717965"/>
              <a:ext cx="432151" cy="523881"/>
            </a:xfrm>
            <a:custGeom>
              <a:avLst/>
              <a:gdLst>
                <a:gd name="connsiteX0" fmla="*/ 558381 w 1215605"/>
                <a:gd name="connsiteY0" fmla="*/ 155020 h 1441847"/>
                <a:gd name="connsiteX1" fmla="*/ 138328 w 1215605"/>
                <a:gd name="connsiteY1" fmla="*/ 5478 h 1441847"/>
                <a:gd name="connsiteX2" fmla="*/ 138328 w 1215605"/>
                <a:gd name="connsiteY2" fmla="*/ 5478 h 1441847"/>
                <a:gd name="connsiteX3" fmla="*/ 133566 w 1215605"/>
                <a:gd name="connsiteY3" fmla="*/ 4525 h 1441847"/>
                <a:gd name="connsiteX4" fmla="*/ 5931 w 1215605"/>
                <a:gd name="connsiteY4" fmla="*/ 69295 h 1441847"/>
                <a:gd name="connsiteX5" fmla="*/ 23076 w 1215605"/>
                <a:gd name="connsiteY5" fmla="*/ 169308 h 1441847"/>
                <a:gd name="connsiteX6" fmla="*/ 23076 w 1215605"/>
                <a:gd name="connsiteY6" fmla="*/ 169308 h 1441847"/>
                <a:gd name="connsiteX7" fmla="*/ 174523 w 1215605"/>
                <a:gd name="connsiteY7" fmla="*/ 355045 h 1441847"/>
                <a:gd name="connsiteX8" fmla="*/ 174523 w 1215605"/>
                <a:gd name="connsiteY8" fmla="*/ 355045 h 1441847"/>
                <a:gd name="connsiteX9" fmla="*/ 257391 w 1215605"/>
                <a:gd name="connsiteY9" fmla="*/ 399813 h 1441847"/>
                <a:gd name="connsiteX10" fmla="*/ 262153 w 1215605"/>
                <a:gd name="connsiteY10" fmla="*/ 399813 h 1441847"/>
                <a:gd name="connsiteX11" fmla="*/ 269773 w 1215605"/>
                <a:gd name="connsiteY11" fmla="*/ 399813 h 1441847"/>
                <a:gd name="connsiteX12" fmla="*/ 269773 w 1215605"/>
                <a:gd name="connsiteY12" fmla="*/ 399813 h 1441847"/>
                <a:gd name="connsiteX13" fmla="*/ 269773 w 1215605"/>
                <a:gd name="connsiteY13" fmla="*/ 399813 h 1441847"/>
                <a:gd name="connsiteX14" fmla="*/ 587908 w 1215605"/>
                <a:gd name="connsiteY14" fmla="*/ 399813 h 1441847"/>
                <a:gd name="connsiteX15" fmla="*/ 639343 w 1215605"/>
                <a:gd name="connsiteY15" fmla="*/ 1440895 h 1441847"/>
                <a:gd name="connsiteX16" fmla="*/ 639343 w 1215605"/>
                <a:gd name="connsiteY16" fmla="*/ 1441848 h 1441847"/>
                <a:gd name="connsiteX17" fmla="*/ 790791 w 1215605"/>
                <a:gd name="connsiteY17" fmla="*/ 1441848 h 1441847"/>
                <a:gd name="connsiteX18" fmla="*/ 790791 w 1215605"/>
                <a:gd name="connsiteY18" fmla="*/ 419815 h 1441847"/>
                <a:gd name="connsiteX19" fmla="*/ 1164171 w 1215605"/>
                <a:gd name="connsiteY19" fmla="*/ 532210 h 1441847"/>
                <a:gd name="connsiteX20" fmla="*/ 1165123 w 1215605"/>
                <a:gd name="connsiteY20" fmla="*/ 532210 h 1441847"/>
                <a:gd name="connsiteX21" fmla="*/ 1165123 w 1215605"/>
                <a:gd name="connsiteY21" fmla="*/ 532210 h 1441847"/>
                <a:gd name="connsiteX22" fmla="*/ 1215606 w 1215605"/>
                <a:gd name="connsiteY22" fmla="*/ 389335 h 1441847"/>
                <a:gd name="connsiteX23" fmla="*/ 1215606 w 1215605"/>
                <a:gd name="connsiteY23" fmla="*/ 389335 h 1441847"/>
                <a:gd name="connsiteX24" fmla="*/ 791743 w 1215605"/>
                <a:gd name="connsiteY24" fmla="*/ 237888 h 1441847"/>
                <a:gd name="connsiteX25" fmla="*/ 794601 w 1215605"/>
                <a:gd name="connsiteY25" fmla="*/ 187405 h 1441847"/>
                <a:gd name="connsiteX26" fmla="*/ 796506 w 1215605"/>
                <a:gd name="connsiteY26" fmla="*/ 155020 h 1441847"/>
                <a:gd name="connsiteX27" fmla="*/ 796506 w 1215605"/>
                <a:gd name="connsiteY27" fmla="*/ 155020 h 1441847"/>
                <a:gd name="connsiteX28" fmla="*/ 796506 w 1215605"/>
                <a:gd name="connsiteY28" fmla="*/ 155020 h 1441847"/>
                <a:gd name="connsiteX29" fmla="*/ 558381 w 1215605"/>
                <a:gd name="connsiteY29" fmla="*/ 155020 h 1441847"/>
                <a:gd name="connsiteX30" fmla="*/ 558381 w 1215605"/>
                <a:gd name="connsiteY30" fmla="*/ 155020 h 144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5605" h="1441847">
                  <a:moveTo>
                    <a:pt x="558381" y="155020"/>
                  </a:moveTo>
                  <a:lnTo>
                    <a:pt x="138328" y="5478"/>
                  </a:lnTo>
                  <a:lnTo>
                    <a:pt x="138328" y="5478"/>
                  </a:lnTo>
                  <a:cubicBezTo>
                    <a:pt x="136423" y="4525"/>
                    <a:pt x="135471" y="4525"/>
                    <a:pt x="133566" y="4525"/>
                  </a:cubicBezTo>
                  <a:cubicBezTo>
                    <a:pt x="81178" y="-11667"/>
                    <a:pt x="24028" y="16908"/>
                    <a:pt x="5931" y="69295"/>
                  </a:cubicBezTo>
                  <a:cubicBezTo>
                    <a:pt x="-6452" y="104538"/>
                    <a:pt x="1168" y="142638"/>
                    <a:pt x="23076" y="169308"/>
                  </a:cubicBezTo>
                  <a:lnTo>
                    <a:pt x="23076" y="169308"/>
                  </a:lnTo>
                  <a:lnTo>
                    <a:pt x="174523" y="355045"/>
                  </a:lnTo>
                  <a:lnTo>
                    <a:pt x="174523" y="355045"/>
                  </a:lnTo>
                  <a:cubicBezTo>
                    <a:pt x="194526" y="379810"/>
                    <a:pt x="224053" y="396955"/>
                    <a:pt x="257391" y="399813"/>
                  </a:cubicBezTo>
                  <a:cubicBezTo>
                    <a:pt x="259296" y="399813"/>
                    <a:pt x="260248" y="399813"/>
                    <a:pt x="262153" y="399813"/>
                  </a:cubicBezTo>
                  <a:cubicBezTo>
                    <a:pt x="265011" y="399813"/>
                    <a:pt x="266916" y="399813"/>
                    <a:pt x="269773" y="399813"/>
                  </a:cubicBezTo>
                  <a:cubicBezTo>
                    <a:pt x="269773" y="399813"/>
                    <a:pt x="269773" y="399813"/>
                    <a:pt x="269773" y="399813"/>
                  </a:cubicBezTo>
                  <a:cubicBezTo>
                    <a:pt x="269773" y="399813"/>
                    <a:pt x="269773" y="399813"/>
                    <a:pt x="269773" y="399813"/>
                  </a:cubicBezTo>
                  <a:lnTo>
                    <a:pt x="587908" y="399813"/>
                  </a:lnTo>
                  <a:lnTo>
                    <a:pt x="639343" y="1440895"/>
                  </a:lnTo>
                  <a:cubicBezTo>
                    <a:pt x="639343" y="1440895"/>
                    <a:pt x="639343" y="1441848"/>
                    <a:pt x="639343" y="1441848"/>
                  </a:cubicBezTo>
                  <a:lnTo>
                    <a:pt x="790791" y="1441848"/>
                  </a:lnTo>
                  <a:lnTo>
                    <a:pt x="790791" y="419815"/>
                  </a:lnTo>
                  <a:lnTo>
                    <a:pt x="1164171" y="532210"/>
                  </a:lnTo>
                  <a:cubicBezTo>
                    <a:pt x="1164171" y="532210"/>
                    <a:pt x="1165123" y="532210"/>
                    <a:pt x="1165123" y="532210"/>
                  </a:cubicBezTo>
                  <a:lnTo>
                    <a:pt x="1165123" y="532210"/>
                  </a:lnTo>
                  <a:lnTo>
                    <a:pt x="1215606" y="389335"/>
                  </a:lnTo>
                  <a:lnTo>
                    <a:pt x="1215606" y="389335"/>
                  </a:lnTo>
                  <a:lnTo>
                    <a:pt x="791743" y="237888"/>
                  </a:lnTo>
                  <a:lnTo>
                    <a:pt x="794601" y="187405"/>
                  </a:lnTo>
                  <a:cubicBezTo>
                    <a:pt x="795553" y="176928"/>
                    <a:pt x="796506" y="165498"/>
                    <a:pt x="796506" y="155020"/>
                  </a:cubicBezTo>
                  <a:lnTo>
                    <a:pt x="796506" y="155020"/>
                  </a:lnTo>
                  <a:lnTo>
                    <a:pt x="796506" y="155020"/>
                  </a:lnTo>
                  <a:lnTo>
                    <a:pt x="558381" y="155020"/>
                  </a:lnTo>
                  <a:lnTo>
                    <a:pt x="558381" y="155020"/>
                  </a:ln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4" name="Freeform: Shape 2210">
              <a:extLst>
                <a:ext uri="{FF2B5EF4-FFF2-40B4-BE49-F238E27FC236}">
                  <a16:creationId xmlns:a16="http://schemas.microsoft.com/office/drawing/2014/main" id="{0A6021A7-BC8C-0A1C-C0B1-99DA4369DEF4}"/>
                </a:ext>
              </a:extLst>
            </p:cNvPr>
            <p:cNvSpPr/>
            <p:nvPr/>
          </p:nvSpPr>
          <p:spPr>
            <a:xfrm>
              <a:off x="5070064" y="3241846"/>
              <a:ext cx="89056" cy="32878"/>
            </a:xfrm>
            <a:custGeom>
              <a:avLst/>
              <a:gdLst>
                <a:gd name="connsiteX0" fmla="*/ 0 w 250507"/>
                <a:gd name="connsiteY0" fmla="*/ 952 h 90487"/>
                <a:gd name="connsiteX1" fmla="*/ 0 w 250507"/>
                <a:gd name="connsiteY1" fmla="*/ 952 h 90487"/>
                <a:gd name="connsiteX2" fmla="*/ 0 w 250507"/>
                <a:gd name="connsiteY2" fmla="*/ 90488 h 90487"/>
                <a:gd name="connsiteX3" fmla="*/ 227647 w 250507"/>
                <a:gd name="connsiteY3" fmla="*/ 90488 h 90487"/>
                <a:gd name="connsiteX4" fmla="*/ 250508 w 250507"/>
                <a:gd name="connsiteY4" fmla="*/ 67627 h 90487"/>
                <a:gd name="connsiteX5" fmla="*/ 239078 w 250507"/>
                <a:gd name="connsiteY5" fmla="*/ 47625 h 90487"/>
                <a:gd name="connsiteX6" fmla="*/ 152400 w 250507"/>
                <a:gd name="connsiteY6" fmla="*/ 0 h 90487"/>
                <a:gd name="connsiteX7" fmla="*/ 0 w 250507"/>
                <a:gd name="connsiteY7" fmla="*/ 0 h 90487"/>
                <a:gd name="connsiteX8" fmla="*/ 0 w 250507"/>
                <a:gd name="connsiteY8" fmla="*/ 952 h 90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507" h="90487">
                  <a:moveTo>
                    <a:pt x="0" y="952"/>
                  </a:moveTo>
                  <a:lnTo>
                    <a:pt x="0" y="952"/>
                  </a:lnTo>
                  <a:lnTo>
                    <a:pt x="0" y="90488"/>
                  </a:lnTo>
                  <a:lnTo>
                    <a:pt x="227647" y="90488"/>
                  </a:lnTo>
                  <a:cubicBezTo>
                    <a:pt x="240030" y="90488"/>
                    <a:pt x="250508" y="80010"/>
                    <a:pt x="250508" y="67627"/>
                  </a:cubicBezTo>
                  <a:cubicBezTo>
                    <a:pt x="250508" y="59055"/>
                    <a:pt x="245745" y="51435"/>
                    <a:pt x="239078" y="47625"/>
                  </a:cubicBezTo>
                  <a:lnTo>
                    <a:pt x="152400" y="0"/>
                  </a:lnTo>
                  <a:lnTo>
                    <a:pt x="0" y="0"/>
                  </a:lnTo>
                  <a:lnTo>
                    <a:pt x="0" y="952"/>
                  </a:lnTo>
                  <a:close/>
                </a:path>
              </a:pathLst>
            </a:custGeom>
            <a:solidFill>
              <a:srgbClr val="33333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5" name="Freeform: Shape 2211">
              <a:extLst>
                <a:ext uri="{FF2B5EF4-FFF2-40B4-BE49-F238E27FC236}">
                  <a16:creationId xmlns:a16="http://schemas.microsoft.com/office/drawing/2014/main" id="{D9B8CE47-69E1-32FC-01E2-2123EC287F02}"/>
                </a:ext>
              </a:extLst>
            </p:cNvPr>
            <p:cNvSpPr/>
            <p:nvPr/>
          </p:nvSpPr>
          <p:spPr>
            <a:xfrm>
              <a:off x="5257320" y="2859772"/>
              <a:ext cx="47745" cy="94561"/>
            </a:xfrm>
            <a:custGeom>
              <a:avLst/>
              <a:gdLst>
                <a:gd name="connsiteX0" fmla="*/ 0 w 134302"/>
                <a:gd name="connsiteY0" fmla="*/ 142875 h 260255"/>
                <a:gd name="connsiteX1" fmla="*/ 0 w 134302"/>
                <a:gd name="connsiteY1" fmla="*/ 142875 h 260255"/>
                <a:gd name="connsiteX2" fmla="*/ 15240 w 134302"/>
                <a:gd name="connsiteY2" fmla="*/ 240983 h 260255"/>
                <a:gd name="connsiteX3" fmla="*/ 29527 w 134302"/>
                <a:gd name="connsiteY3" fmla="*/ 259080 h 260255"/>
                <a:gd name="connsiteX4" fmla="*/ 58102 w 134302"/>
                <a:gd name="connsiteY4" fmla="*/ 245745 h 260255"/>
                <a:gd name="connsiteX5" fmla="*/ 134302 w 134302"/>
                <a:gd name="connsiteY5" fmla="*/ 30480 h 260255"/>
                <a:gd name="connsiteX6" fmla="*/ 49530 w 134302"/>
                <a:gd name="connsiteY6" fmla="*/ 0 h 260255"/>
                <a:gd name="connsiteX7" fmla="*/ 0 w 134302"/>
                <a:gd name="connsiteY7" fmla="*/ 142875 h 260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02" h="260255">
                  <a:moveTo>
                    <a:pt x="0" y="142875"/>
                  </a:moveTo>
                  <a:lnTo>
                    <a:pt x="0" y="142875"/>
                  </a:lnTo>
                  <a:lnTo>
                    <a:pt x="15240" y="240983"/>
                  </a:lnTo>
                  <a:cubicBezTo>
                    <a:pt x="16192" y="249555"/>
                    <a:pt x="21907" y="256223"/>
                    <a:pt x="29527" y="259080"/>
                  </a:cubicBezTo>
                  <a:cubicBezTo>
                    <a:pt x="40957" y="262890"/>
                    <a:pt x="54292" y="257175"/>
                    <a:pt x="58102" y="245745"/>
                  </a:cubicBezTo>
                  <a:lnTo>
                    <a:pt x="134302" y="30480"/>
                  </a:lnTo>
                  <a:lnTo>
                    <a:pt x="49530" y="0"/>
                  </a:lnTo>
                  <a:lnTo>
                    <a:pt x="0" y="142875"/>
                  </a:lnTo>
                  <a:close/>
                </a:path>
              </a:pathLst>
            </a:custGeom>
            <a:solidFill>
              <a:srgbClr val="33333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6" name="Freeform: Shape 2212">
              <a:extLst>
                <a:ext uri="{FF2B5EF4-FFF2-40B4-BE49-F238E27FC236}">
                  <a16:creationId xmlns:a16="http://schemas.microsoft.com/office/drawing/2014/main" id="{051A542D-90EC-20AA-A6BC-DCDEB702AC83}"/>
                </a:ext>
              </a:extLst>
            </p:cNvPr>
            <p:cNvSpPr/>
            <p:nvPr/>
          </p:nvSpPr>
          <p:spPr>
            <a:xfrm>
              <a:off x="4964371" y="2257545"/>
              <a:ext cx="91132" cy="184238"/>
            </a:xfrm>
            <a:custGeom>
              <a:avLst/>
              <a:gdLst>
                <a:gd name="connsiteX0" fmla="*/ 133476 w 256347"/>
                <a:gd name="connsiteY0" fmla="*/ 506856 h 507069"/>
                <a:gd name="connsiteX1" fmla="*/ 252538 w 256347"/>
                <a:gd name="connsiteY1" fmla="*/ 401128 h 507069"/>
                <a:gd name="connsiteX2" fmla="*/ 252538 w 256347"/>
                <a:gd name="connsiteY2" fmla="*/ 401128 h 507069"/>
                <a:gd name="connsiteX3" fmla="*/ 252538 w 256347"/>
                <a:gd name="connsiteY3" fmla="*/ 394460 h 507069"/>
                <a:gd name="connsiteX4" fmla="*/ 256348 w 256347"/>
                <a:gd name="connsiteY4" fmla="*/ 330643 h 507069"/>
                <a:gd name="connsiteX5" fmla="*/ 251585 w 256347"/>
                <a:gd name="connsiteY5" fmla="*/ 330643 h 507069"/>
                <a:gd name="connsiteX6" fmla="*/ 110615 w 256347"/>
                <a:gd name="connsiteY6" fmla="*/ 210628 h 507069"/>
                <a:gd name="connsiteX7" fmla="*/ 98233 w 256347"/>
                <a:gd name="connsiteY7" fmla="*/ 58228 h 507069"/>
                <a:gd name="connsiteX8" fmla="*/ 98233 w 256347"/>
                <a:gd name="connsiteY8" fmla="*/ 58228 h 507069"/>
                <a:gd name="connsiteX9" fmla="*/ 97280 w 256347"/>
                <a:gd name="connsiteY9" fmla="*/ 44893 h 507069"/>
                <a:gd name="connsiteX10" fmla="*/ 44893 w 256347"/>
                <a:gd name="connsiteY10" fmla="*/ 126 h 507069"/>
                <a:gd name="connsiteX11" fmla="*/ 126 w 256347"/>
                <a:gd name="connsiteY11" fmla="*/ 52513 h 507069"/>
                <a:gd name="connsiteX12" fmla="*/ 52513 w 256347"/>
                <a:gd name="connsiteY12" fmla="*/ 97280 h 507069"/>
                <a:gd name="connsiteX13" fmla="*/ 52513 w 256347"/>
                <a:gd name="connsiteY13" fmla="*/ 97280 h 507069"/>
                <a:gd name="connsiteX14" fmla="*/ 62038 w 256347"/>
                <a:gd name="connsiteY14" fmla="*/ 212533 h 507069"/>
                <a:gd name="connsiteX15" fmla="*/ 53465 w 256347"/>
                <a:gd name="connsiteY15" fmla="*/ 213485 h 507069"/>
                <a:gd name="connsiteX16" fmla="*/ 38226 w 256347"/>
                <a:gd name="connsiteY16" fmla="*/ 213485 h 507069"/>
                <a:gd name="connsiteX17" fmla="*/ 27748 w 256347"/>
                <a:gd name="connsiteY17" fmla="*/ 386840 h 507069"/>
                <a:gd name="connsiteX18" fmla="*/ 27748 w 256347"/>
                <a:gd name="connsiteY18" fmla="*/ 386840 h 507069"/>
                <a:gd name="connsiteX19" fmla="*/ 27748 w 256347"/>
                <a:gd name="connsiteY19" fmla="*/ 393508 h 507069"/>
                <a:gd name="connsiteX20" fmla="*/ 133476 w 256347"/>
                <a:gd name="connsiteY20" fmla="*/ 506856 h 507069"/>
                <a:gd name="connsiteX21" fmla="*/ 133476 w 256347"/>
                <a:gd name="connsiteY21" fmla="*/ 506856 h 50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56347" h="507069">
                  <a:moveTo>
                    <a:pt x="133476" y="506856"/>
                  </a:moveTo>
                  <a:cubicBezTo>
                    <a:pt x="195388" y="510665"/>
                    <a:pt x="248728" y="463040"/>
                    <a:pt x="252538" y="401128"/>
                  </a:cubicBezTo>
                  <a:lnTo>
                    <a:pt x="252538" y="401128"/>
                  </a:lnTo>
                  <a:lnTo>
                    <a:pt x="252538" y="394460"/>
                  </a:lnTo>
                  <a:lnTo>
                    <a:pt x="256348" y="330643"/>
                  </a:lnTo>
                  <a:lnTo>
                    <a:pt x="251585" y="330643"/>
                  </a:lnTo>
                  <a:cubicBezTo>
                    <a:pt x="179195" y="336358"/>
                    <a:pt x="116330" y="283018"/>
                    <a:pt x="110615" y="210628"/>
                  </a:cubicBezTo>
                  <a:lnTo>
                    <a:pt x="98233" y="58228"/>
                  </a:lnTo>
                  <a:lnTo>
                    <a:pt x="98233" y="58228"/>
                  </a:lnTo>
                  <a:lnTo>
                    <a:pt x="97280" y="44893"/>
                  </a:lnTo>
                  <a:cubicBezTo>
                    <a:pt x="95376" y="18223"/>
                    <a:pt x="71563" y="-1779"/>
                    <a:pt x="44893" y="126"/>
                  </a:cubicBezTo>
                  <a:cubicBezTo>
                    <a:pt x="18223" y="2030"/>
                    <a:pt x="-1780" y="25843"/>
                    <a:pt x="126" y="52513"/>
                  </a:cubicBezTo>
                  <a:cubicBezTo>
                    <a:pt x="2030" y="79183"/>
                    <a:pt x="25843" y="99185"/>
                    <a:pt x="52513" y="97280"/>
                  </a:cubicBezTo>
                  <a:lnTo>
                    <a:pt x="52513" y="97280"/>
                  </a:lnTo>
                  <a:lnTo>
                    <a:pt x="62038" y="212533"/>
                  </a:lnTo>
                  <a:lnTo>
                    <a:pt x="53465" y="213485"/>
                  </a:lnTo>
                  <a:cubicBezTo>
                    <a:pt x="47751" y="213485"/>
                    <a:pt x="42988" y="213485"/>
                    <a:pt x="38226" y="213485"/>
                  </a:cubicBezTo>
                  <a:lnTo>
                    <a:pt x="27748" y="386840"/>
                  </a:lnTo>
                  <a:lnTo>
                    <a:pt x="27748" y="386840"/>
                  </a:lnTo>
                  <a:cubicBezTo>
                    <a:pt x="27748" y="388746"/>
                    <a:pt x="27748" y="391603"/>
                    <a:pt x="27748" y="393508"/>
                  </a:cubicBezTo>
                  <a:cubicBezTo>
                    <a:pt x="28701" y="453515"/>
                    <a:pt x="74420" y="503046"/>
                    <a:pt x="133476" y="506856"/>
                  </a:cubicBezTo>
                  <a:lnTo>
                    <a:pt x="133476" y="506856"/>
                  </a:lnTo>
                  <a:close/>
                </a:path>
              </a:pathLst>
            </a:custGeom>
            <a:solidFill>
              <a:srgbClr val="B37C5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7" name="Freeform: Shape 2213">
              <a:extLst>
                <a:ext uri="{FF2B5EF4-FFF2-40B4-BE49-F238E27FC236}">
                  <a16:creationId xmlns:a16="http://schemas.microsoft.com/office/drawing/2014/main" id="{A526FA2E-9269-1159-11A7-9C276B6BFF4D}"/>
                </a:ext>
              </a:extLst>
            </p:cNvPr>
            <p:cNvSpPr/>
            <p:nvPr/>
          </p:nvSpPr>
          <p:spPr>
            <a:xfrm>
              <a:off x="5183501" y="2649701"/>
              <a:ext cx="3386" cy="3461"/>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B3A4F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8" name="Freeform: Shape 2214">
              <a:extLst>
                <a:ext uri="{FF2B5EF4-FFF2-40B4-BE49-F238E27FC236}">
                  <a16:creationId xmlns:a16="http://schemas.microsoft.com/office/drawing/2014/main" id="{EE46A48E-F3DE-D9BA-096C-6A0254E6FF38}"/>
                </a:ext>
              </a:extLst>
            </p:cNvPr>
            <p:cNvSpPr/>
            <p:nvPr/>
          </p:nvSpPr>
          <p:spPr>
            <a:xfrm>
              <a:off x="5183501" y="2649701"/>
              <a:ext cx="3386" cy="3461"/>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CCC2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409" name="Graphic 530">
              <a:extLst>
                <a:ext uri="{FF2B5EF4-FFF2-40B4-BE49-F238E27FC236}">
                  <a16:creationId xmlns:a16="http://schemas.microsoft.com/office/drawing/2014/main" id="{F2FECF1E-B962-B0FA-3DAB-A240C7715CC1}"/>
                </a:ext>
              </a:extLst>
            </p:cNvPr>
            <p:cNvGrpSpPr/>
            <p:nvPr/>
          </p:nvGrpSpPr>
          <p:grpSpPr>
            <a:xfrm>
              <a:off x="5042298" y="2425786"/>
              <a:ext cx="451376" cy="223914"/>
              <a:chOff x="5978842" y="2951797"/>
              <a:chExt cx="1269682" cy="616267"/>
            </a:xfrm>
            <a:solidFill>
              <a:srgbClr val="B3B3B3"/>
            </a:solidFill>
          </p:grpSpPr>
          <p:sp>
            <p:nvSpPr>
              <p:cNvPr id="415" name="Freeform: Shape 2221">
                <a:extLst>
                  <a:ext uri="{FF2B5EF4-FFF2-40B4-BE49-F238E27FC236}">
                    <a16:creationId xmlns:a16="http://schemas.microsoft.com/office/drawing/2014/main" id="{0BBF3CE6-ADE9-E087-8426-04BCB6C26F99}"/>
                  </a:ext>
                </a:extLst>
              </p:cNvPr>
              <p:cNvSpPr/>
              <p:nvPr/>
            </p:nvSpPr>
            <p:spPr>
              <a:xfrm>
                <a:off x="5978842" y="3514725"/>
                <a:ext cx="396239" cy="53340"/>
              </a:xfrm>
              <a:custGeom>
                <a:avLst/>
                <a:gdLst>
                  <a:gd name="connsiteX0" fmla="*/ 390525 w 396239"/>
                  <a:gd name="connsiteY0" fmla="*/ 0 h 53340"/>
                  <a:gd name="connsiteX1" fmla="*/ 115252 w 396239"/>
                  <a:gd name="connsiteY1" fmla="*/ 0 h 53340"/>
                  <a:gd name="connsiteX2" fmla="*/ 65722 w 396239"/>
                  <a:gd name="connsiteY2" fmla="*/ 50483 h 53340"/>
                  <a:gd name="connsiteX3" fmla="*/ 45720 w 396239"/>
                  <a:gd name="connsiteY3" fmla="*/ 53340 h 53340"/>
                  <a:gd name="connsiteX4" fmla="*/ 45720 w 396239"/>
                  <a:gd name="connsiteY4" fmla="*/ 53340 h 53340"/>
                  <a:gd name="connsiteX5" fmla="*/ 0 w 396239"/>
                  <a:gd name="connsiteY5" fmla="*/ 53340 h 53340"/>
                  <a:gd name="connsiteX6" fmla="*/ 0 w 396239"/>
                  <a:gd name="connsiteY6" fmla="*/ 53340 h 53340"/>
                  <a:gd name="connsiteX7" fmla="*/ 396240 w 396239"/>
                  <a:gd name="connsiteY7" fmla="*/ 53340 h 53340"/>
                  <a:gd name="connsiteX8" fmla="*/ 387667 w 396239"/>
                  <a:gd name="connsiteY8" fmla="*/ 53340 h 53340"/>
                  <a:gd name="connsiteX9" fmla="*/ 390525 w 396239"/>
                  <a:gd name="connsiteY9" fmla="*/ 0 h 53340"/>
                  <a:gd name="connsiteX10" fmla="*/ 390525 w 396239"/>
                  <a:gd name="connsiteY10" fmla="*/ 0 h 5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6239" h="53340">
                    <a:moveTo>
                      <a:pt x="390525" y="0"/>
                    </a:moveTo>
                    <a:lnTo>
                      <a:pt x="115252" y="0"/>
                    </a:lnTo>
                    <a:cubicBezTo>
                      <a:pt x="109538" y="23813"/>
                      <a:pt x="91440" y="43815"/>
                      <a:pt x="65722" y="50483"/>
                    </a:cubicBezTo>
                    <a:cubicBezTo>
                      <a:pt x="59055" y="52388"/>
                      <a:pt x="52388" y="53340"/>
                      <a:pt x="45720" y="53340"/>
                    </a:cubicBezTo>
                    <a:lnTo>
                      <a:pt x="45720" y="53340"/>
                    </a:lnTo>
                    <a:lnTo>
                      <a:pt x="0" y="53340"/>
                    </a:lnTo>
                    <a:lnTo>
                      <a:pt x="0" y="53340"/>
                    </a:lnTo>
                    <a:lnTo>
                      <a:pt x="396240" y="53340"/>
                    </a:lnTo>
                    <a:lnTo>
                      <a:pt x="387667" y="53340"/>
                    </a:lnTo>
                    <a:lnTo>
                      <a:pt x="390525" y="0"/>
                    </a:lnTo>
                    <a:lnTo>
                      <a:pt x="390525" y="0"/>
                    </a:lnTo>
                    <a:close/>
                  </a:path>
                </a:pathLst>
              </a:custGeom>
              <a:solidFill>
                <a:srgbClr val="B3B3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16" name="Freeform: Shape 2222">
                <a:extLst>
                  <a:ext uri="{FF2B5EF4-FFF2-40B4-BE49-F238E27FC236}">
                    <a16:creationId xmlns:a16="http://schemas.microsoft.com/office/drawing/2014/main" id="{5981528A-C422-99B1-1F17-1C4531F50DE2}"/>
                  </a:ext>
                </a:extLst>
              </p:cNvPr>
              <p:cNvSpPr/>
              <p:nvPr/>
            </p:nvSpPr>
            <p:spPr>
              <a:xfrm>
                <a:off x="6365556" y="2951797"/>
                <a:ext cx="882967" cy="614362"/>
              </a:xfrm>
              <a:custGeom>
                <a:avLst/>
                <a:gdLst>
                  <a:gd name="connsiteX0" fmla="*/ 20003 w 882967"/>
                  <a:gd name="connsiteY0" fmla="*/ 953 h 614362"/>
                  <a:gd name="connsiteX1" fmla="*/ 28575 w 882967"/>
                  <a:gd name="connsiteY1" fmla="*/ 953 h 614362"/>
                  <a:gd name="connsiteX2" fmla="*/ 0 w 882967"/>
                  <a:gd name="connsiteY2" fmla="*/ 614363 h 614362"/>
                  <a:gd name="connsiteX3" fmla="*/ 860108 w 882967"/>
                  <a:gd name="connsiteY3" fmla="*/ 480060 h 614362"/>
                  <a:gd name="connsiteX4" fmla="*/ 882968 w 882967"/>
                  <a:gd name="connsiteY4" fmla="*/ 0 h 614362"/>
                  <a:gd name="connsiteX5" fmla="*/ 20003 w 882967"/>
                  <a:gd name="connsiteY5" fmla="*/ 0 h 614362"/>
                  <a:gd name="connsiteX6" fmla="*/ 434340 w 882967"/>
                  <a:gd name="connsiteY6" fmla="*/ 371475 h 614362"/>
                  <a:gd name="connsiteX7" fmla="*/ 374333 w 882967"/>
                  <a:gd name="connsiteY7" fmla="*/ 308610 h 614362"/>
                  <a:gd name="connsiteX8" fmla="*/ 440055 w 882967"/>
                  <a:gd name="connsiteY8" fmla="*/ 245745 h 614362"/>
                  <a:gd name="connsiteX9" fmla="*/ 500063 w 882967"/>
                  <a:gd name="connsiteY9" fmla="*/ 308610 h 614362"/>
                  <a:gd name="connsiteX10" fmla="*/ 434340 w 882967"/>
                  <a:gd name="connsiteY10" fmla="*/ 371475 h 614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2967" h="614362">
                    <a:moveTo>
                      <a:pt x="20003" y="953"/>
                    </a:moveTo>
                    <a:lnTo>
                      <a:pt x="28575" y="953"/>
                    </a:lnTo>
                    <a:lnTo>
                      <a:pt x="0" y="614363"/>
                    </a:lnTo>
                    <a:lnTo>
                      <a:pt x="860108" y="480060"/>
                    </a:lnTo>
                    <a:lnTo>
                      <a:pt x="882968" y="0"/>
                    </a:lnTo>
                    <a:lnTo>
                      <a:pt x="20003" y="0"/>
                    </a:lnTo>
                    <a:close/>
                    <a:moveTo>
                      <a:pt x="434340" y="371475"/>
                    </a:moveTo>
                    <a:cubicBezTo>
                      <a:pt x="400050" y="371475"/>
                      <a:pt x="372428" y="342900"/>
                      <a:pt x="374333" y="308610"/>
                    </a:cubicBezTo>
                    <a:cubicBezTo>
                      <a:pt x="376238" y="274320"/>
                      <a:pt x="405765" y="245745"/>
                      <a:pt x="440055" y="245745"/>
                    </a:cubicBezTo>
                    <a:cubicBezTo>
                      <a:pt x="474345" y="245745"/>
                      <a:pt x="501968" y="274320"/>
                      <a:pt x="500063" y="308610"/>
                    </a:cubicBezTo>
                    <a:cubicBezTo>
                      <a:pt x="498158" y="342900"/>
                      <a:pt x="468630" y="371475"/>
                      <a:pt x="434340" y="371475"/>
                    </a:cubicBezTo>
                    <a:close/>
                  </a:path>
                </a:pathLst>
              </a:custGeom>
              <a:solidFill>
                <a:srgbClr val="B3B3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17" name="Freeform: Shape 2223">
                <a:extLst>
                  <a:ext uri="{FF2B5EF4-FFF2-40B4-BE49-F238E27FC236}">
                    <a16:creationId xmlns:a16="http://schemas.microsoft.com/office/drawing/2014/main" id="{F6FDC533-2FC9-2BC8-9E97-7CDDA91565EF}"/>
                  </a:ext>
                </a:extLst>
              </p:cNvPr>
              <p:cNvSpPr/>
              <p:nvPr/>
            </p:nvSpPr>
            <p:spPr>
              <a:xfrm>
                <a:off x="6366509" y="3432809"/>
                <a:ext cx="859155" cy="135255"/>
              </a:xfrm>
              <a:custGeom>
                <a:avLst/>
                <a:gdLst>
                  <a:gd name="connsiteX0" fmla="*/ 0 w 859155"/>
                  <a:gd name="connsiteY0" fmla="*/ 134303 h 135255"/>
                  <a:gd name="connsiteX1" fmla="*/ 0 w 859155"/>
                  <a:gd name="connsiteY1" fmla="*/ 135255 h 135255"/>
                  <a:gd name="connsiteX2" fmla="*/ 150495 w 859155"/>
                  <a:gd name="connsiteY2" fmla="*/ 135255 h 135255"/>
                  <a:gd name="connsiteX3" fmla="*/ 168593 w 859155"/>
                  <a:gd name="connsiteY3" fmla="*/ 135255 h 135255"/>
                  <a:gd name="connsiteX4" fmla="*/ 853440 w 859155"/>
                  <a:gd name="connsiteY4" fmla="*/ 135255 h 135255"/>
                  <a:gd name="connsiteX5" fmla="*/ 859155 w 859155"/>
                  <a:gd name="connsiteY5" fmla="*/ 0 h 135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9155" h="135255">
                    <a:moveTo>
                      <a:pt x="0" y="134303"/>
                    </a:moveTo>
                    <a:lnTo>
                      <a:pt x="0" y="135255"/>
                    </a:lnTo>
                    <a:lnTo>
                      <a:pt x="150495" y="135255"/>
                    </a:lnTo>
                    <a:lnTo>
                      <a:pt x="168593" y="135255"/>
                    </a:lnTo>
                    <a:lnTo>
                      <a:pt x="853440" y="135255"/>
                    </a:lnTo>
                    <a:lnTo>
                      <a:pt x="859155" y="0"/>
                    </a:lnTo>
                    <a:close/>
                  </a:path>
                </a:pathLst>
              </a:custGeom>
              <a:solidFill>
                <a:srgbClr val="B3B3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410" name="Freeform: Shape 2216">
              <a:extLst>
                <a:ext uri="{FF2B5EF4-FFF2-40B4-BE49-F238E27FC236}">
                  <a16:creationId xmlns:a16="http://schemas.microsoft.com/office/drawing/2014/main" id="{D9A8AE73-104A-3367-512F-DDA81622375B}"/>
                </a:ext>
              </a:extLst>
            </p:cNvPr>
            <p:cNvSpPr/>
            <p:nvPr/>
          </p:nvSpPr>
          <p:spPr>
            <a:xfrm>
              <a:off x="4946582" y="2147055"/>
              <a:ext cx="191693" cy="231468"/>
            </a:xfrm>
            <a:custGeom>
              <a:avLst/>
              <a:gdLst>
                <a:gd name="connsiteX0" fmla="*/ 103504 w 539217"/>
                <a:gd name="connsiteY0" fmla="*/ 519486 h 637056"/>
                <a:gd name="connsiteX1" fmla="*/ 112077 w 539217"/>
                <a:gd name="connsiteY1" fmla="*/ 518534 h 637056"/>
                <a:gd name="connsiteX2" fmla="*/ 102552 w 539217"/>
                <a:gd name="connsiteY2" fmla="*/ 403281 h 637056"/>
                <a:gd name="connsiteX3" fmla="*/ 102552 w 539217"/>
                <a:gd name="connsiteY3" fmla="*/ 403281 h 637056"/>
                <a:gd name="connsiteX4" fmla="*/ 50164 w 539217"/>
                <a:gd name="connsiteY4" fmla="*/ 358514 h 637056"/>
                <a:gd name="connsiteX5" fmla="*/ 94932 w 539217"/>
                <a:gd name="connsiteY5" fmla="*/ 306126 h 637056"/>
                <a:gd name="connsiteX6" fmla="*/ 147319 w 539217"/>
                <a:gd name="connsiteY6" fmla="*/ 350894 h 637056"/>
                <a:gd name="connsiteX7" fmla="*/ 148272 w 539217"/>
                <a:gd name="connsiteY7" fmla="*/ 364229 h 637056"/>
                <a:gd name="connsiteX8" fmla="*/ 148272 w 539217"/>
                <a:gd name="connsiteY8" fmla="*/ 364229 h 637056"/>
                <a:gd name="connsiteX9" fmla="*/ 160654 w 539217"/>
                <a:gd name="connsiteY9" fmla="*/ 516629 h 637056"/>
                <a:gd name="connsiteX10" fmla="*/ 301624 w 539217"/>
                <a:gd name="connsiteY10" fmla="*/ 636644 h 637056"/>
                <a:gd name="connsiteX11" fmla="*/ 306387 w 539217"/>
                <a:gd name="connsiteY11" fmla="*/ 636644 h 637056"/>
                <a:gd name="connsiteX12" fmla="*/ 431164 w 539217"/>
                <a:gd name="connsiteY12" fmla="*/ 627119 h 637056"/>
                <a:gd name="connsiteX13" fmla="*/ 491172 w 539217"/>
                <a:gd name="connsiteY13" fmla="*/ 553776 h 637056"/>
                <a:gd name="connsiteX14" fmla="*/ 470217 w 539217"/>
                <a:gd name="connsiteY14" fmla="*/ 394709 h 637056"/>
                <a:gd name="connsiteX15" fmla="*/ 470217 w 539217"/>
                <a:gd name="connsiteY15" fmla="*/ 394709 h 637056"/>
                <a:gd name="connsiteX16" fmla="*/ 255904 w 539217"/>
                <a:gd name="connsiteY16" fmla="*/ 411854 h 637056"/>
                <a:gd name="connsiteX17" fmla="*/ 197802 w 539217"/>
                <a:gd name="connsiteY17" fmla="*/ 363276 h 637056"/>
                <a:gd name="connsiteX18" fmla="*/ 182562 w 539217"/>
                <a:gd name="connsiteY18" fmla="*/ 168014 h 637056"/>
                <a:gd name="connsiteX19" fmla="*/ 287337 w 539217"/>
                <a:gd name="connsiteY19" fmla="*/ 204209 h 637056"/>
                <a:gd name="connsiteX20" fmla="*/ 437832 w 539217"/>
                <a:gd name="connsiteY20" fmla="*/ 191826 h 637056"/>
                <a:gd name="connsiteX21" fmla="*/ 451167 w 539217"/>
                <a:gd name="connsiteY21" fmla="*/ 240404 h 637056"/>
                <a:gd name="connsiteX22" fmla="*/ 456882 w 539217"/>
                <a:gd name="connsiteY22" fmla="*/ 282314 h 637056"/>
                <a:gd name="connsiteX23" fmla="*/ 538797 w 539217"/>
                <a:gd name="connsiteY23" fmla="*/ 167061 h 637056"/>
                <a:gd name="connsiteX24" fmla="*/ 487362 w 539217"/>
                <a:gd name="connsiteY24" fmla="*/ 83241 h 637056"/>
                <a:gd name="connsiteX25" fmla="*/ 410209 w 539217"/>
                <a:gd name="connsiteY25" fmla="*/ 2279 h 637056"/>
                <a:gd name="connsiteX26" fmla="*/ 388302 w 539217"/>
                <a:gd name="connsiteY26" fmla="*/ 374 h 637056"/>
                <a:gd name="connsiteX27" fmla="*/ 383539 w 539217"/>
                <a:gd name="connsiteY27" fmla="*/ 374 h 637056"/>
                <a:gd name="connsiteX28" fmla="*/ 383539 w 539217"/>
                <a:gd name="connsiteY28" fmla="*/ 374 h 637056"/>
                <a:gd name="connsiteX29" fmla="*/ 304482 w 539217"/>
                <a:gd name="connsiteY29" fmla="*/ 7041 h 637056"/>
                <a:gd name="connsiteX30" fmla="*/ 304482 w 539217"/>
                <a:gd name="connsiteY30" fmla="*/ 7041 h 637056"/>
                <a:gd name="connsiteX31" fmla="*/ 295909 w 539217"/>
                <a:gd name="connsiteY31" fmla="*/ 7994 h 637056"/>
                <a:gd name="connsiteX32" fmla="*/ 252094 w 539217"/>
                <a:gd name="connsiteY32" fmla="*/ 29901 h 637056"/>
                <a:gd name="connsiteX33" fmla="*/ 198754 w 539217"/>
                <a:gd name="connsiteY33" fmla="*/ 8946 h 637056"/>
                <a:gd name="connsiteX34" fmla="*/ 139699 w 539217"/>
                <a:gd name="connsiteY34" fmla="*/ 65144 h 637056"/>
                <a:gd name="connsiteX35" fmla="*/ 634 w 539217"/>
                <a:gd name="connsiteY35" fmla="*/ 239451 h 637056"/>
                <a:gd name="connsiteX36" fmla="*/ 12064 w 539217"/>
                <a:gd name="connsiteY36" fmla="*/ 383279 h 637056"/>
                <a:gd name="connsiteX37" fmla="*/ 12064 w 539217"/>
                <a:gd name="connsiteY37" fmla="*/ 383279 h 637056"/>
                <a:gd name="connsiteX38" fmla="*/ 17779 w 539217"/>
                <a:gd name="connsiteY38" fmla="*/ 448049 h 637056"/>
                <a:gd name="connsiteX39" fmla="*/ 90169 w 539217"/>
                <a:gd name="connsiteY39" fmla="*/ 522344 h 637056"/>
                <a:gd name="connsiteX40" fmla="*/ 103504 w 539217"/>
                <a:gd name="connsiteY40" fmla="*/ 519486 h 637056"/>
                <a:gd name="connsiteX41" fmla="*/ 103504 w 539217"/>
                <a:gd name="connsiteY41" fmla="*/ 519486 h 637056"/>
                <a:gd name="connsiteX42" fmla="*/ 448309 w 539217"/>
                <a:gd name="connsiteY42" fmla="*/ 438524 h 637056"/>
                <a:gd name="connsiteX43" fmla="*/ 403542 w 539217"/>
                <a:gd name="connsiteY43" fmla="*/ 491864 h 637056"/>
                <a:gd name="connsiteX44" fmla="*/ 350202 w 539217"/>
                <a:gd name="connsiteY44" fmla="*/ 447096 h 637056"/>
                <a:gd name="connsiteX45" fmla="*/ 448309 w 539217"/>
                <a:gd name="connsiteY45" fmla="*/ 438524 h 637056"/>
                <a:gd name="connsiteX46" fmla="*/ 448309 w 539217"/>
                <a:gd name="connsiteY46" fmla="*/ 438524 h 637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39217" h="637056">
                  <a:moveTo>
                    <a:pt x="103504" y="519486"/>
                  </a:moveTo>
                  <a:lnTo>
                    <a:pt x="112077" y="518534"/>
                  </a:lnTo>
                  <a:lnTo>
                    <a:pt x="102552" y="403281"/>
                  </a:lnTo>
                  <a:lnTo>
                    <a:pt x="102552" y="403281"/>
                  </a:lnTo>
                  <a:cubicBezTo>
                    <a:pt x="75882" y="405186"/>
                    <a:pt x="52069" y="385184"/>
                    <a:pt x="50164" y="358514"/>
                  </a:cubicBezTo>
                  <a:cubicBezTo>
                    <a:pt x="48259" y="331844"/>
                    <a:pt x="68262" y="308031"/>
                    <a:pt x="94932" y="306126"/>
                  </a:cubicBezTo>
                  <a:cubicBezTo>
                    <a:pt x="121602" y="304221"/>
                    <a:pt x="145414" y="324224"/>
                    <a:pt x="147319" y="350894"/>
                  </a:cubicBezTo>
                  <a:lnTo>
                    <a:pt x="148272" y="364229"/>
                  </a:lnTo>
                  <a:lnTo>
                    <a:pt x="148272" y="364229"/>
                  </a:lnTo>
                  <a:lnTo>
                    <a:pt x="160654" y="516629"/>
                  </a:lnTo>
                  <a:cubicBezTo>
                    <a:pt x="166369" y="588066"/>
                    <a:pt x="229234" y="642359"/>
                    <a:pt x="301624" y="636644"/>
                  </a:cubicBezTo>
                  <a:lnTo>
                    <a:pt x="306387" y="636644"/>
                  </a:lnTo>
                  <a:lnTo>
                    <a:pt x="431164" y="627119"/>
                  </a:lnTo>
                  <a:cubicBezTo>
                    <a:pt x="468312" y="624261"/>
                    <a:pt x="495934" y="590924"/>
                    <a:pt x="491172" y="553776"/>
                  </a:cubicBezTo>
                  <a:lnTo>
                    <a:pt x="470217" y="394709"/>
                  </a:lnTo>
                  <a:lnTo>
                    <a:pt x="470217" y="394709"/>
                  </a:lnTo>
                  <a:lnTo>
                    <a:pt x="255904" y="411854"/>
                  </a:lnTo>
                  <a:cubicBezTo>
                    <a:pt x="226377" y="413759"/>
                    <a:pt x="200659" y="392804"/>
                    <a:pt x="197802" y="363276"/>
                  </a:cubicBezTo>
                  <a:lnTo>
                    <a:pt x="182562" y="168014"/>
                  </a:lnTo>
                  <a:cubicBezTo>
                    <a:pt x="210184" y="192779"/>
                    <a:pt x="247332" y="207066"/>
                    <a:pt x="287337" y="204209"/>
                  </a:cubicBezTo>
                  <a:lnTo>
                    <a:pt x="437832" y="191826"/>
                  </a:lnTo>
                  <a:cubicBezTo>
                    <a:pt x="444499" y="207066"/>
                    <a:pt x="449262" y="223259"/>
                    <a:pt x="451167" y="240404"/>
                  </a:cubicBezTo>
                  <a:lnTo>
                    <a:pt x="456882" y="282314"/>
                  </a:lnTo>
                  <a:cubicBezTo>
                    <a:pt x="507364" y="268979"/>
                    <a:pt x="543559" y="221354"/>
                    <a:pt x="538797" y="167061"/>
                  </a:cubicBezTo>
                  <a:cubicBezTo>
                    <a:pt x="535939" y="130866"/>
                    <a:pt x="515937" y="100386"/>
                    <a:pt x="487362" y="83241"/>
                  </a:cubicBezTo>
                  <a:cubicBezTo>
                    <a:pt x="481647" y="42284"/>
                    <a:pt x="449262" y="9899"/>
                    <a:pt x="410209" y="2279"/>
                  </a:cubicBezTo>
                  <a:cubicBezTo>
                    <a:pt x="403542" y="374"/>
                    <a:pt x="395922" y="-579"/>
                    <a:pt x="388302" y="374"/>
                  </a:cubicBezTo>
                  <a:lnTo>
                    <a:pt x="383539" y="374"/>
                  </a:lnTo>
                  <a:cubicBezTo>
                    <a:pt x="383539" y="374"/>
                    <a:pt x="383539" y="374"/>
                    <a:pt x="383539" y="374"/>
                  </a:cubicBezTo>
                  <a:lnTo>
                    <a:pt x="304482" y="7041"/>
                  </a:lnTo>
                  <a:lnTo>
                    <a:pt x="304482" y="7041"/>
                  </a:lnTo>
                  <a:lnTo>
                    <a:pt x="295909" y="7994"/>
                  </a:lnTo>
                  <a:cubicBezTo>
                    <a:pt x="278764" y="8946"/>
                    <a:pt x="263524" y="17519"/>
                    <a:pt x="252094" y="29901"/>
                  </a:cubicBezTo>
                  <a:cubicBezTo>
                    <a:pt x="238759" y="15614"/>
                    <a:pt x="219709" y="7041"/>
                    <a:pt x="198754" y="8946"/>
                  </a:cubicBezTo>
                  <a:cubicBezTo>
                    <a:pt x="167322" y="11804"/>
                    <a:pt x="143509" y="35616"/>
                    <a:pt x="139699" y="65144"/>
                  </a:cubicBezTo>
                  <a:cubicBezTo>
                    <a:pt x="54927" y="77526"/>
                    <a:pt x="-6986" y="152774"/>
                    <a:pt x="634" y="239451"/>
                  </a:cubicBezTo>
                  <a:lnTo>
                    <a:pt x="12064" y="383279"/>
                  </a:lnTo>
                  <a:lnTo>
                    <a:pt x="12064" y="383279"/>
                  </a:lnTo>
                  <a:lnTo>
                    <a:pt x="17779" y="448049"/>
                  </a:lnTo>
                  <a:cubicBezTo>
                    <a:pt x="20637" y="488054"/>
                    <a:pt x="52069" y="518534"/>
                    <a:pt x="90169" y="522344"/>
                  </a:cubicBezTo>
                  <a:cubicBezTo>
                    <a:pt x="93979" y="519486"/>
                    <a:pt x="98742" y="519486"/>
                    <a:pt x="103504" y="519486"/>
                  </a:cubicBezTo>
                  <a:lnTo>
                    <a:pt x="103504" y="519486"/>
                  </a:lnTo>
                  <a:close/>
                  <a:moveTo>
                    <a:pt x="448309" y="438524"/>
                  </a:moveTo>
                  <a:cubicBezTo>
                    <a:pt x="450214" y="466146"/>
                    <a:pt x="430212" y="489959"/>
                    <a:pt x="403542" y="491864"/>
                  </a:cubicBezTo>
                  <a:cubicBezTo>
                    <a:pt x="376872" y="493769"/>
                    <a:pt x="352107" y="473766"/>
                    <a:pt x="350202" y="447096"/>
                  </a:cubicBezTo>
                  <a:lnTo>
                    <a:pt x="448309" y="438524"/>
                  </a:lnTo>
                  <a:lnTo>
                    <a:pt x="448309" y="438524"/>
                  </a:lnTo>
                  <a:close/>
                </a:path>
              </a:pathLst>
            </a:custGeom>
            <a:solidFill>
              <a:srgbClr val="51282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11" name="Freeform: Shape 2217">
              <a:extLst>
                <a:ext uri="{FF2B5EF4-FFF2-40B4-BE49-F238E27FC236}">
                  <a16:creationId xmlns:a16="http://schemas.microsoft.com/office/drawing/2014/main" id="{166D4EC9-913D-24B9-26FA-45C666934C47}"/>
                </a:ext>
              </a:extLst>
            </p:cNvPr>
            <p:cNvSpPr/>
            <p:nvPr/>
          </p:nvSpPr>
          <p:spPr>
            <a:xfrm>
              <a:off x="5011145" y="2207409"/>
              <a:ext cx="102262" cy="88688"/>
            </a:xfrm>
            <a:custGeom>
              <a:avLst/>
              <a:gdLst>
                <a:gd name="connsiteX0" fmla="*/ 268605 w 287655"/>
                <a:gd name="connsiteY0" fmla="*/ 72390 h 244090"/>
                <a:gd name="connsiteX1" fmla="*/ 255270 w 287655"/>
                <a:gd name="connsiteY1" fmla="*/ 23813 h 244090"/>
                <a:gd name="connsiteX2" fmla="*/ 104775 w 287655"/>
                <a:gd name="connsiteY2" fmla="*/ 36195 h 244090"/>
                <a:gd name="connsiteX3" fmla="*/ 0 w 287655"/>
                <a:gd name="connsiteY3" fmla="*/ 0 h 244090"/>
                <a:gd name="connsiteX4" fmla="*/ 15240 w 287655"/>
                <a:gd name="connsiteY4" fmla="*/ 195263 h 244090"/>
                <a:gd name="connsiteX5" fmla="*/ 73343 w 287655"/>
                <a:gd name="connsiteY5" fmla="*/ 243840 h 244090"/>
                <a:gd name="connsiteX6" fmla="*/ 287655 w 287655"/>
                <a:gd name="connsiteY6" fmla="*/ 226695 h 244090"/>
                <a:gd name="connsiteX7" fmla="*/ 273368 w 287655"/>
                <a:gd name="connsiteY7" fmla="*/ 114300 h 244090"/>
                <a:gd name="connsiteX8" fmla="*/ 268605 w 287655"/>
                <a:gd name="connsiteY8" fmla="*/ 72390 h 244090"/>
                <a:gd name="connsiteX9" fmla="*/ 268605 w 287655"/>
                <a:gd name="connsiteY9" fmla="*/ 72390 h 24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7655" h="244090">
                  <a:moveTo>
                    <a:pt x="268605" y="72390"/>
                  </a:moveTo>
                  <a:cubicBezTo>
                    <a:pt x="266700" y="55245"/>
                    <a:pt x="261938" y="39052"/>
                    <a:pt x="255270" y="23813"/>
                  </a:cubicBezTo>
                  <a:lnTo>
                    <a:pt x="104775" y="36195"/>
                  </a:lnTo>
                  <a:cubicBezTo>
                    <a:pt x="64770" y="39052"/>
                    <a:pt x="27622" y="24765"/>
                    <a:pt x="0" y="0"/>
                  </a:cubicBezTo>
                  <a:lnTo>
                    <a:pt x="15240" y="195263"/>
                  </a:lnTo>
                  <a:cubicBezTo>
                    <a:pt x="18097" y="224790"/>
                    <a:pt x="43815" y="246697"/>
                    <a:pt x="73343" y="243840"/>
                  </a:cubicBezTo>
                  <a:lnTo>
                    <a:pt x="287655" y="226695"/>
                  </a:lnTo>
                  <a:lnTo>
                    <a:pt x="273368" y="114300"/>
                  </a:lnTo>
                  <a:lnTo>
                    <a:pt x="268605" y="72390"/>
                  </a:lnTo>
                  <a:lnTo>
                    <a:pt x="268605" y="72390"/>
                  </a:lnTo>
                  <a:close/>
                </a:path>
              </a:pathLst>
            </a:custGeom>
            <a:solidFill>
              <a:srgbClr val="B37C5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12" name="Freeform: Shape 2218">
              <a:extLst>
                <a:ext uri="{FF2B5EF4-FFF2-40B4-BE49-F238E27FC236}">
                  <a16:creationId xmlns:a16="http://schemas.microsoft.com/office/drawing/2014/main" id="{C2B0ECD5-E024-48E2-C8D8-B0E29C787A0A}"/>
                </a:ext>
              </a:extLst>
            </p:cNvPr>
            <p:cNvSpPr/>
            <p:nvPr/>
          </p:nvSpPr>
          <p:spPr>
            <a:xfrm>
              <a:off x="5000648" y="2597725"/>
              <a:ext cx="83554" cy="52321"/>
            </a:xfrm>
            <a:custGeom>
              <a:avLst/>
              <a:gdLst>
                <a:gd name="connsiteX0" fmla="*/ 231458 w 235029"/>
                <a:gd name="connsiteY0" fmla="*/ 51609 h 144001"/>
                <a:gd name="connsiteX1" fmla="*/ 141922 w 235029"/>
                <a:gd name="connsiteY1" fmla="*/ 3032 h 144001"/>
                <a:gd name="connsiteX2" fmla="*/ 34290 w 235029"/>
                <a:gd name="connsiteY2" fmla="*/ 34464 h 144001"/>
                <a:gd name="connsiteX3" fmla="*/ 0 w 235029"/>
                <a:gd name="connsiteY3" fmla="*/ 27797 h 144001"/>
                <a:gd name="connsiteX4" fmla="*/ 0 w 235029"/>
                <a:gd name="connsiteY4" fmla="*/ 27797 h 144001"/>
                <a:gd name="connsiteX5" fmla="*/ 0 w 235029"/>
                <a:gd name="connsiteY5" fmla="*/ 144002 h 144001"/>
                <a:gd name="connsiteX6" fmla="*/ 36195 w 235029"/>
                <a:gd name="connsiteY6" fmla="*/ 144002 h 144001"/>
                <a:gd name="connsiteX7" fmla="*/ 36195 w 235029"/>
                <a:gd name="connsiteY7" fmla="*/ 144002 h 144001"/>
                <a:gd name="connsiteX8" fmla="*/ 116205 w 235029"/>
                <a:gd name="connsiteY8" fmla="*/ 144002 h 144001"/>
                <a:gd name="connsiteX9" fmla="*/ 161925 w 235029"/>
                <a:gd name="connsiteY9" fmla="*/ 144002 h 144001"/>
                <a:gd name="connsiteX10" fmla="*/ 161925 w 235029"/>
                <a:gd name="connsiteY10" fmla="*/ 144002 h 144001"/>
                <a:gd name="connsiteX11" fmla="*/ 181928 w 235029"/>
                <a:gd name="connsiteY11" fmla="*/ 141144 h 144001"/>
                <a:gd name="connsiteX12" fmla="*/ 231458 w 235029"/>
                <a:gd name="connsiteY12" fmla="*/ 90662 h 144001"/>
                <a:gd name="connsiteX13" fmla="*/ 231458 w 235029"/>
                <a:gd name="connsiteY13" fmla="*/ 51609 h 144001"/>
                <a:gd name="connsiteX14" fmla="*/ 231458 w 235029"/>
                <a:gd name="connsiteY14" fmla="*/ 51609 h 14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5029" h="144001">
                  <a:moveTo>
                    <a:pt x="231458" y="51609"/>
                  </a:moveTo>
                  <a:cubicBezTo>
                    <a:pt x="220028" y="13509"/>
                    <a:pt x="180022" y="-8398"/>
                    <a:pt x="141922" y="3032"/>
                  </a:cubicBezTo>
                  <a:lnTo>
                    <a:pt x="34290" y="34464"/>
                  </a:lnTo>
                  <a:lnTo>
                    <a:pt x="0" y="27797"/>
                  </a:lnTo>
                  <a:lnTo>
                    <a:pt x="0" y="27797"/>
                  </a:lnTo>
                  <a:lnTo>
                    <a:pt x="0" y="144002"/>
                  </a:lnTo>
                  <a:lnTo>
                    <a:pt x="36195" y="144002"/>
                  </a:lnTo>
                  <a:lnTo>
                    <a:pt x="36195" y="144002"/>
                  </a:lnTo>
                  <a:lnTo>
                    <a:pt x="116205" y="144002"/>
                  </a:lnTo>
                  <a:lnTo>
                    <a:pt x="161925" y="144002"/>
                  </a:lnTo>
                  <a:lnTo>
                    <a:pt x="161925" y="144002"/>
                  </a:lnTo>
                  <a:cubicBezTo>
                    <a:pt x="168593" y="144002"/>
                    <a:pt x="175260" y="143049"/>
                    <a:pt x="181928" y="141144"/>
                  </a:cubicBezTo>
                  <a:cubicBezTo>
                    <a:pt x="206693" y="133524"/>
                    <a:pt x="224790" y="113522"/>
                    <a:pt x="231458" y="90662"/>
                  </a:cubicBezTo>
                  <a:cubicBezTo>
                    <a:pt x="236220" y="77327"/>
                    <a:pt x="236220" y="63992"/>
                    <a:pt x="231458" y="51609"/>
                  </a:cubicBezTo>
                  <a:lnTo>
                    <a:pt x="231458" y="51609"/>
                  </a:lnTo>
                  <a:close/>
                </a:path>
              </a:pathLst>
            </a:custGeom>
            <a:solidFill>
              <a:srgbClr val="B37C5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13" name="Freeform: Shape 2219">
              <a:extLst>
                <a:ext uri="{FF2B5EF4-FFF2-40B4-BE49-F238E27FC236}">
                  <a16:creationId xmlns:a16="http://schemas.microsoft.com/office/drawing/2014/main" id="{16F6E8B7-0BE2-E278-EBDD-56B62DB9320F}"/>
                </a:ext>
              </a:extLst>
            </p:cNvPr>
            <p:cNvSpPr/>
            <p:nvPr/>
          </p:nvSpPr>
          <p:spPr>
            <a:xfrm>
              <a:off x="5071080" y="2306388"/>
              <a:ext cx="34974" cy="19479"/>
            </a:xfrm>
            <a:custGeom>
              <a:avLst/>
              <a:gdLst>
                <a:gd name="connsiteX0" fmla="*/ 53340 w 98379"/>
                <a:gd name="connsiteY0" fmla="*/ 53340 h 53611"/>
                <a:gd name="connsiteX1" fmla="*/ 98107 w 98379"/>
                <a:gd name="connsiteY1" fmla="*/ 0 h 53611"/>
                <a:gd name="connsiteX2" fmla="*/ 0 w 98379"/>
                <a:gd name="connsiteY2" fmla="*/ 8573 h 53611"/>
                <a:gd name="connsiteX3" fmla="*/ 53340 w 98379"/>
                <a:gd name="connsiteY3" fmla="*/ 53340 h 53611"/>
                <a:gd name="connsiteX4" fmla="*/ 53340 w 98379"/>
                <a:gd name="connsiteY4" fmla="*/ 53340 h 53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379" h="53611">
                  <a:moveTo>
                    <a:pt x="53340" y="53340"/>
                  </a:moveTo>
                  <a:cubicBezTo>
                    <a:pt x="80963" y="51435"/>
                    <a:pt x="100965" y="26670"/>
                    <a:pt x="98107" y="0"/>
                  </a:cubicBezTo>
                  <a:lnTo>
                    <a:pt x="0" y="8573"/>
                  </a:lnTo>
                  <a:cubicBezTo>
                    <a:pt x="1905" y="36195"/>
                    <a:pt x="25717" y="56198"/>
                    <a:pt x="53340" y="53340"/>
                  </a:cubicBezTo>
                  <a:lnTo>
                    <a:pt x="53340" y="53340"/>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14" name="Freeform: Shape 2220">
              <a:extLst>
                <a:ext uri="{FF2B5EF4-FFF2-40B4-BE49-F238E27FC236}">
                  <a16:creationId xmlns:a16="http://schemas.microsoft.com/office/drawing/2014/main" id="{3F04CBD4-A625-B60D-85E4-6E21C00F540B}"/>
                </a:ext>
              </a:extLst>
            </p:cNvPr>
            <p:cNvSpPr/>
            <p:nvPr/>
          </p:nvSpPr>
          <p:spPr>
            <a:xfrm>
              <a:off x="4467327" y="2649701"/>
              <a:ext cx="1625360" cy="32532"/>
            </a:xfrm>
            <a:custGeom>
              <a:avLst/>
              <a:gdLst>
                <a:gd name="connsiteX0" fmla="*/ 0 w 4572000"/>
                <a:gd name="connsiteY0" fmla="*/ 0 h 89535"/>
                <a:gd name="connsiteX1" fmla="*/ 4572000 w 4572000"/>
                <a:gd name="connsiteY1" fmla="*/ 0 h 89535"/>
                <a:gd name="connsiteX2" fmla="*/ 4572000 w 4572000"/>
                <a:gd name="connsiteY2" fmla="*/ 89535 h 89535"/>
                <a:gd name="connsiteX3" fmla="*/ 0 w 4572000"/>
                <a:gd name="connsiteY3" fmla="*/ 89535 h 89535"/>
              </a:gdLst>
              <a:ahLst/>
              <a:cxnLst>
                <a:cxn ang="0">
                  <a:pos x="connsiteX0" y="connsiteY0"/>
                </a:cxn>
                <a:cxn ang="0">
                  <a:pos x="connsiteX1" y="connsiteY1"/>
                </a:cxn>
                <a:cxn ang="0">
                  <a:pos x="connsiteX2" y="connsiteY2"/>
                </a:cxn>
                <a:cxn ang="0">
                  <a:pos x="connsiteX3" y="connsiteY3"/>
                </a:cxn>
              </a:cxnLst>
              <a:rect l="l" t="t" r="r" b="b"/>
              <a:pathLst>
                <a:path w="4572000" h="89535">
                  <a:moveTo>
                    <a:pt x="0" y="0"/>
                  </a:moveTo>
                  <a:lnTo>
                    <a:pt x="4572000" y="0"/>
                  </a:lnTo>
                  <a:lnTo>
                    <a:pt x="4572000" y="89535"/>
                  </a:lnTo>
                  <a:lnTo>
                    <a:pt x="0" y="89535"/>
                  </a:lnTo>
                  <a:close/>
                </a:path>
              </a:pathLst>
            </a:custGeom>
            <a:solidFill>
              <a:srgbClr val="30303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 name="LegendBoxes">
            <a:extLst>
              <a:ext uri="{FF2B5EF4-FFF2-40B4-BE49-F238E27FC236}">
                <a16:creationId xmlns:a16="http://schemas.microsoft.com/office/drawing/2014/main" id="{16892D44-E04E-9EFA-3138-B7498EFFE555}"/>
              </a:ext>
            </a:extLst>
          </p:cNvPr>
          <p:cNvGrpSpPr/>
          <p:nvPr/>
        </p:nvGrpSpPr>
        <p:grpSpPr>
          <a:xfrm>
            <a:off x="10259774" y="983534"/>
            <a:ext cx="1010401" cy="172729"/>
            <a:chOff x="10783957" y="4402858"/>
            <a:chExt cx="1010401" cy="172729"/>
          </a:xfrm>
        </p:grpSpPr>
        <p:sp>
          <p:nvSpPr>
            <p:cNvPr id="13" name="RectangleLegend1">
              <a:extLst>
                <a:ext uri="{FF2B5EF4-FFF2-40B4-BE49-F238E27FC236}">
                  <a16:creationId xmlns:a16="http://schemas.microsoft.com/office/drawing/2014/main" id="{8CCE50E3-43F5-4BE7-E99C-F48D1D04B7A7}"/>
                </a:ext>
              </a:extLst>
            </p:cNvPr>
            <p:cNvSpPr/>
            <p:nvPr/>
          </p:nvSpPr>
          <p:spPr>
            <a:xfrm>
              <a:off x="10783957" y="4402858"/>
              <a:ext cx="172729" cy="172729"/>
            </a:xfrm>
            <a:prstGeom prst="rect">
              <a:avLst/>
            </a:prstGeom>
            <a:solidFill>
              <a:schemeClr val="accent1">
                <a:lumMod val="20000"/>
                <a:lumOff val="80000"/>
                <a:alpha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4" name="Legend1">
              <a:extLst>
                <a:ext uri="{FF2B5EF4-FFF2-40B4-BE49-F238E27FC236}">
                  <a16:creationId xmlns:a16="http://schemas.microsoft.com/office/drawing/2014/main" id="{CFAF89FF-443E-F42C-623F-9686583BD383}"/>
                </a:ext>
              </a:extLst>
            </p:cNvPr>
            <p:cNvSpPr txBox="1"/>
            <p:nvPr/>
          </p:nvSpPr>
          <p:spPr>
            <a:xfrm>
              <a:off x="11040947" y="4412277"/>
              <a:ext cx="753411" cy="153888"/>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Details follow</a:t>
              </a:r>
            </a:p>
          </p:txBody>
        </p:sp>
      </p:grpSp>
    </p:spTree>
    <p:extLst>
      <p:ext uri="{BB962C8B-B14F-4D97-AF65-F5344CB8AC3E}">
        <p14:creationId xmlns:p14="http://schemas.microsoft.com/office/powerpoint/2010/main" val="25496733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0C17A-15C6-420A-BB69-04F9C9102857}"/>
              </a:ext>
            </a:extLst>
          </p:cNvPr>
          <p:cNvSpPr>
            <a:spLocks noGrp="1"/>
          </p:cNvSpPr>
          <p:nvPr>
            <p:ph type="title"/>
          </p:nvPr>
        </p:nvSpPr>
        <p:spPr>
          <a:xfrm>
            <a:off x="448172" y="135281"/>
            <a:ext cx="11150600" cy="641612"/>
          </a:xfrm>
        </p:spPr>
        <p:txBody>
          <a:bodyPr/>
          <a:lstStyle/>
          <a:p>
            <a:r>
              <a:rPr lang="en-US" dirty="0"/>
              <a:t>Amazon Q &amp; Code Whisperer Updates</a:t>
            </a:r>
          </a:p>
        </p:txBody>
      </p:sp>
      <p:sp>
        <p:nvSpPr>
          <p:cNvPr id="8" name="Rectangle: Rounded Corners 7">
            <a:extLst>
              <a:ext uri="{FF2B5EF4-FFF2-40B4-BE49-F238E27FC236}">
                <a16:creationId xmlns:a16="http://schemas.microsoft.com/office/drawing/2014/main" id="{50D93CAC-2250-40BF-998B-A953BF78BE6B}"/>
              </a:ext>
            </a:extLst>
          </p:cNvPr>
          <p:cNvSpPr/>
          <p:nvPr/>
        </p:nvSpPr>
        <p:spPr>
          <a:xfrm>
            <a:off x="448172" y="1011892"/>
            <a:ext cx="3585986" cy="1537877"/>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Background</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Boeing is evaluating Amazon Web Services (AWS) CodeWhisperer through a Proof of Concept exercise with the intent of implementing the tool in various business operations.</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4A29C56E-36D1-4DB4-BA97-F9E01C94DD35}"/>
              </a:ext>
            </a:extLst>
          </p:cNvPr>
          <p:cNvSpPr/>
          <p:nvPr/>
        </p:nvSpPr>
        <p:spPr>
          <a:xfrm>
            <a:off x="515938" y="2673428"/>
            <a:ext cx="3585986" cy="1450164"/>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Goal</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o validate and understand the use cases and terms of service of the tool while also measuring the efficiency of the code generated</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0" name="Rectangle: Rounded Corners 9">
            <a:extLst>
              <a:ext uri="{FF2B5EF4-FFF2-40B4-BE49-F238E27FC236}">
                <a16:creationId xmlns:a16="http://schemas.microsoft.com/office/drawing/2014/main" id="{437ACA5F-D30B-4E1E-9A54-77C2E66A3FB6}"/>
              </a:ext>
            </a:extLst>
          </p:cNvPr>
          <p:cNvSpPr/>
          <p:nvPr/>
        </p:nvSpPr>
        <p:spPr>
          <a:xfrm>
            <a:off x="515938" y="4334964"/>
            <a:ext cx="3585986" cy="2026920"/>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Objectiv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est several use cases and quantify the impact on accuracy and productivity across different functions within various software engineering teams, looking at its applicability within an operational context. Also, identify the critical safety concerns and potential hazards.</a:t>
            </a:r>
          </a:p>
          <a:p>
            <a:pPr marL="0" marR="0" lvl="0" indent="0" algn="ctr" defTabSz="914400" eaLnBrk="1" fontAlgn="auto" latinLnBrk="0" hangingPunct="1">
              <a:lnSpc>
                <a:spcPct val="100000"/>
              </a:lnSpc>
              <a:spcBef>
                <a:spcPts val="0"/>
              </a:spcBef>
              <a:spcAft>
                <a:spcPts val="0"/>
              </a:spcAft>
              <a:buClrTx/>
              <a:buSzTx/>
              <a:buFontTx/>
              <a:buNone/>
              <a:tabLst/>
              <a:defRPr/>
            </a:pP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11" name="Rectangle: Rounded Corners 10">
            <a:extLst>
              <a:ext uri="{FF2B5EF4-FFF2-40B4-BE49-F238E27FC236}">
                <a16:creationId xmlns:a16="http://schemas.microsoft.com/office/drawing/2014/main" id="{9655B18D-1715-4CC3-8D10-C2459DBEEA24}"/>
              </a:ext>
            </a:extLst>
          </p:cNvPr>
          <p:cNvSpPr/>
          <p:nvPr/>
        </p:nvSpPr>
        <p:spPr>
          <a:xfrm>
            <a:off x="4980041" y="1030253"/>
            <a:ext cx="4320379" cy="526762"/>
          </a:xfrm>
          <a:prstGeom prst="roundRect">
            <a:avLst>
              <a:gd name="adj" fmla="val 7856"/>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solidFill>
                  <a:srgbClr val="0039A6"/>
                </a:solidFill>
                <a:effectLst/>
                <a:uLnTx/>
                <a:uFillTx/>
                <a:latin typeface="Arial"/>
                <a:ea typeface="+mn-ea"/>
                <a:cs typeface="+mn-cs"/>
              </a:rPr>
              <a:t>Teams from IT&amp;DA M&amp;Q, DPACS, Software Engineering, and BR&amp;T Math formed to evaluate</a:t>
            </a:r>
          </a:p>
        </p:txBody>
      </p:sp>
      <p:sp>
        <p:nvSpPr>
          <p:cNvPr id="3" name="Rectangle 2">
            <a:extLst>
              <a:ext uri="{FF2B5EF4-FFF2-40B4-BE49-F238E27FC236}">
                <a16:creationId xmlns:a16="http://schemas.microsoft.com/office/drawing/2014/main" id="{DCACCCA2-B43B-01BE-0EE9-87FE1EE61650}"/>
              </a:ext>
            </a:extLst>
          </p:cNvPr>
          <p:cNvSpPr/>
          <p:nvPr/>
        </p:nvSpPr>
        <p:spPr>
          <a:xfrm>
            <a:off x="9256543" y="135281"/>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 name="Rectangle 3">
            <a:extLst>
              <a:ext uri="{FF2B5EF4-FFF2-40B4-BE49-F238E27FC236}">
                <a16:creationId xmlns:a16="http://schemas.microsoft.com/office/drawing/2014/main" id="{5F6E12A3-B427-DF1C-EC5F-8F1453CE57D8}"/>
              </a:ext>
            </a:extLst>
          </p:cNvPr>
          <p:cNvSpPr/>
          <p:nvPr/>
        </p:nvSpPr>
        <p:spPr>
          <a:xfrm>
            <a:off x="9256938" y="458565"/>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 name="TextBox 4">
            <a:extLst>
              <a:ext uri="{FF2B5EF4-FFF2-40B4-BE49-F238E27FC236}">
                <a16:creationId xmlns:a16="http://schemas.microsoft.com/office/drawing/2014/main" id="{BC0224E0-AD05-1A62-3A4A-9949E89FD18C}"/>
              </a:ext>
            </a:extLst>
          </p:cNvPr>
          <p:cNvSpPr txBox="1"/>
          <p:nvPr/>
        </p:nvSpPr>
        <p:spPr>
          <a:xfrm>
            <a:off x="10637174" y="14415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200" dirty="0"/>
          </a:p>
        </p:txBody>
      </p:sp>
      <p:sp>
        <p:nvSpPr>
          <p:cNvPr id="6" name="TextBox 5">
            <a:extLst>
              <a:ext uri="{FF2B5EF4-FFF2-40B4-BE49-F238E27FC236}">
                <a16:creationId xmlns:a16="http://schemas.microsoft.com/office/drawing/2014/main" id="{FD9CF721-4224-1763-E2DD-40A6C851E66B}"/>
              </a:ext>
            </a:extLst>
          </p:cNvPr>
          <p:cNvSpPr txBox="1"/>
          <p:nvPr/>
        </p:nvSpPr>
        <p:spPr>
          <a:xfrm>
            <a:off x="9507342" y="459324"/>
            <a:ext cx="2184834" cy="284906"/>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In progress for capability identification</a:t>
            </a:r>
          </a:p>
        </p:txBody>
      </p:sp>
      <p:sp>
        <p:nvSpPr>
          <p:cNvPr id="22" name="Rectangle 21">
            <a:extLst>
              <a:ext uri="{FF2B5EF4-FFF2-40B4-BE49-F238E27FC236}">
                <a16:creationId xmlns:a16="http://schemas.microsoft.com/office/drawing/2014/main" id="{FF8A0754-7F03-AD2F-2526-B04B8E011DE3}"/>
              </a:ext>
            </a:extLst>
          </p:cNvPr>
          <p:cNvSpPr/>
          <p:nvPr/>
        </p:nvSpPr>
        <p:spPr>
          <a:xfrm>
            <a:off x="9265687" y="804202"/>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 name="TextBox 22">
            <a:extLst>
              <a:ext uri="{FF2B5EF4-FFF2-40B4-BE49-F238E27FC236}">
                <a16:creationId xmlns:a16="http://schemas.microsoft.com/office/drawing/2014/main" id="{8CABFB74-AC1C-2BF2-0768-61322BD852DC}"/>
              </a:ext>
            </a:extLst>
          </p:cNvPr>
          <p:cNvSpPr txBox="1"/>
          <p:nvPr/>
        </p:nvSpPr>
        <p:spPr>
          <a:xfrm>
            <a:off x="9507342" y="797862"/>
            <a:ext cx="1720325" cy="227005"/>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Not Achievable by Amazon Q</a:t>
            </a:r>
          </a:p>
        </p:txBody>
      </p:sp>
      <p:graphicFrame>
        <p:nvGraphicFramePr>
          <p:cNvPr id="43" name="Table 42">
            <a:extLst>
              <a:ext uri="{FF2B5EF4-FFF2-40B4-BE49-F238E27FC236}">
                <a16:creationId xmlns:a16="http://schemas.microsoft.com/office/drawing/2014/main" id="{793E611C-8C6B-BF34-41F6-07BC1E3ED8DC}"/>
              </a:ext>
            </a:extLst>
          </p:cNvPr>
          <p:cNvGraphicFramePr>
            <a:graphicFrameLocks noGrp="1"/>
          </p:cNvGraphicFramePr>
          <p:nvPr>
            <p:extLst>
              <p:ext uri="{D42A27DB-BD31-4B8C-83A1-F6EECF244321}">
                <p14:modId xmlns:p14="http://schemas.microsoft.com/office/powerpoint/2010/main" val="3058841072"/>
              </p:ext>
            </p:extLst>
          </p:nvPr>
        </p:nvGraphicFramePr>
        <p:xfrm>
          <a:off x="4585927" y="1557015"/>
          <a:ext cx="7606073" cy="5330371"/>
        </p:xfrm>
        <a:graphic>
          <a:graphicData uri="http://schemas.openxmlformats.org/drawingml/2006/table">
            <a:tbl>
              <a:tblPr firstRow="1" bandRow="1">
                <a:tableStyleId>{5C22544A-7EE6-4342-B048-85BDC9FD1C3A}</a:tableStyleId>
              </a:tblPr>
              <a:tblGrid>
                <a:gridCol w="5587883">
                  <a:extLst>
                    <a:ext uri="{9D8B030D-6E8A-4147-A177-3AD203B41FA5}">
                      <a16:colId xmlns:a16="http://schemas.microsoft.com/office/drawing/2014/main" val="1543830616"/>
                    </a:ext>
                  </a:extLst>
                </a:gridCol>
                <a:gridCol w="2018190">
                  <a:extLst>
                    <a:ext uri="{9D8B030D-6E8A-4147-A177-3AD203B41FA5}">
                      <a16:colId xmlns:a16="http://schemas.microsoft.com/office/drawing/2014/main" val="1587988572"/>
                    </a:ext>
                  </a:extLst>
                </a:gridCol>
              </a:tblGrid>
              <a:tr h="362916">
                <a:tc>
                  <a:txBody>
                    <a:bodyPr/>
                    <a:lstStyle/>
                    <a:p>
                      <a:r>
                        <a:rPr lang="en-US" dirty="0"/>
                        <a:t>                       USE CASE</a:t>
                      </a:r>
                    </a:p>
                  </a:txBody>
                  <a:tcPr/>
                </a:tc>
                <a:tc>
                  <a:txBody>
                    <a:bodyPr/>
                    <a:lstStyle/>
                    <a:p>
                      <a:r>
                        <a:rPr lang="en-US" dirty="0"/>
                        <a:t>      STATUS</a:t>
                      </a:r>
                    </a:p>
                  </a:txBody>
                  <a:tcPr/>
                </a:tc>
                <a:extLst>
                  <a:ext uri="{0D108BD9-81ED-4DB2-BD59-A6C34878D82A}">
                    <a16:rowId xmlns:a16="http://schemas.microsoft.com/office/drawing/2014/main" val="1470787225"/>
                  </a:ext>
                </a:extLst>
              </a:tr>
              <a:tr h="362916">
                <a:tc>
                  <a:txBody>
                    <a:bodyPr/>
                    <a:lstStyle/>
                    <a:p>
                      <a:r>
                        <a:rPr lang="en-US" sz="1600" dirty="0"/>
                        <a:t>Unit test case creation capability </a:t>
                      </a:r>
                    </a:p>
                  </a:txBody>
                  <a:tcPr/>
                </a:tc>
                <a:tc>
                  <a:txBody>
                    <a:bodyPr/>
                    <a:lstStyle/>
                    <a:p>
                      <a:endParaRPr lang="en-US" dirty="0"/>
                    </a:p>
                  </a:txBody>
                  <a:tcPr/>
                </a:tc>
                <a:extLst>
                  <a:ext uri="{0D108BD9-81ED-4DB2-BD59-A6C34878D82A}">
                    <a16:rowId xmlns:a16="http://schemas.microsoft.com/office/drawing/2014/main" val="1710224201"/>
                  </a:ext>
                </a:extLst>
              </a:tr>
              <a:tr h="5746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New services planning and creation using /Dev functionality</a:t>
                      </a:r>
                    </a:p>
                    <a:p>
                      <a:endParaRPr lang="en-US" sz="1600" dirty="0"/>
                    </a:p>
                  </a:txBody>
                  <a:tcPr/>
                </a:tc>
                <a:tc>
                  <a:txBody>
                    <a:bodyPr/>
                    <a:lstStyle/>
                    <a:p>
                      <a:endParaRPr lang="en-US"/>
                    </a:p>
                  </a:txBody>
                  <a:tcPr/>
                </a:tc>
                <a:extLst>
                  <a:ext uri="{0D108BD9-81ED-4DB2-BD59-A6C34878D82A}">
                    <a16:rowId xmlns:a16="http://schemas.microsoft.com/office/drawing/2014/main" val="3628476526"/>
                  </a:ext>
                </a:extLst>
              </a:tr>
              <a:tr h="10585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Optimizing, refactoring and understanding complex existing legacy codeba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kern="1200" dirty="0">
                        <a:solidFill>
                          <a:schemeClr val="dk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solidFill>
                          <a:schemeClr val="tx1">
                            <a:lumMod val="95000"/>
                            <a:lumOff val="5000"/>
                          </a:schemeClr>
                        </a:solidFill>
                      </a:endParaRPr>
                    </a:p>
                  </a:txBody>
                  <a:tcPr/>
                </a:tc>
                <a:tc>
                  <a:txBody>
                    <a:bodyPr/>
                    <a:lstStyle/>
                    <a:p>
                      <a:endParaRPr lang="en-US" dirty="0"/>
                    </a:p>
                  </a:txBody>
                  <a:tcPr/>
                </a:tc>
                <a:extLst>
                  <a:ext uri="{0D108BD9-81ED-4DB2-BD59-A6C34878D82A}">
                    <a16:rowId xmlns:a16="http://schemas.microsoft.com/office/drawing/2014/main" val="1736299889"/>
                  </a:ext>
                </a:extLst>
              </a:tr>
              <a:tr h="8165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Mitigating the Coverity high and medium security vulnerability using /optimize cap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p>
                  </a:txBody>
                  <a:tcPr/>
                </a:tc>
                <a:tc>
                  <a:txBody>
                    <a:bodyPr/>
                    <a:lstStyle/>
                    <a:p>
                      <a:endParaRPr lang="en-US" dirty="0"/>
                    </a:p>
                  </a:txBody>
                  <a:tcPr/>
                </a:tc>
                <a:extLst>
                  <a:ext uri="{0D108BD9-81ED-4DB2-BD59-A6C34878D82A}">
                    <a16:rowId xmlns:a16="http://schemas.microsoft.com/office/drawing/2014/main" val="672785854"/>
                  </a:ext>
                </a:extLst>
              </a:tr>
              <a:tr h="6742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lumMod val="95000"/>
                              <a:lumOff val="5000"/>
                            </a:schemeClr>
                          </a:solidFill>
                        </a:rPr>
                        <a:t>Actual business </a:t>
                      </a:r>
                      <a:r>
                        <a:rPr lang="en-US" sz="1600" dirty="0" err="1">
                          <a:solidFill>
                            <a:schemeClr val="tx1">
                              <a:lumMod val="95000"/>
                              <a:lumOff val="5000"/>
                            </a:schemeClr>
                          </a:solidFill>
                        </a:rPr>
                        <a:t>usecase</a:t>
                      </a:r>
                      <a:r>
                        <a:rPr lang="en-US" sz="1600" dirty="0">
                          <a:solidFill>
                            <a:schemeClr val="tx1">
                              <a:lumMod val="95000"/>
                              <a:lumOff val="5000"/>
                            </a:schemeClr>
                          </a:solidFill>
                        </a:rPr>
                        <a:t> like NIMT, </a:t>
                      </a:r>
                      <a:r>
                        <a:rPr lang="en-US" sz="1600" dirty="0" err="1">
                          <a:solidFill>
                            <a:schemeClr val="tx1">
                              <a:lumMod val="95000"/>
                              <a:lumOff val="5000"/>
                            </a:schemeClr>
                          </a:solidFill>
                        </a:rPr>
                        <a:t>Redars</a:t>
                      </a:r>
                      <a:r>
                        <a:rPr lang="en-US" sz="1600" dirty="0">
                          <a:solidFill>
                            <a:schemeClr val="tx1">
                              <a:lumMod val="95000"/>
                              <a:lumOff val="5000"/>
                            </a:schemeClr>
                          </a:solidFill>
                        </a:rPr>
                        <a:t> line darkening</a:t>
                      </a:r>
                    </a:p>
                  </a:txBody>
                  <a:tcPr/>
                </a:tc>
                <a:tc>
                  <a:txBody>
                    <a:bodyPr/>
                    <a:lstStyle/>
                    <a:p>
                      <a:endParaRPr lang="en-US" dirty="0"/>
                    </a:p>
                  </a:txBody>
                  <a:tcPr/>
                </a:tc>
                <a:extLst>
                  <a:ext uri="{0D108BD9-81ED-4DB2-BD59-A6C34878D82A}">
                    <a16:rowId xmlns:a16="http://schemas.microsoft.com/office/drawing/2014/main" val="1406580643"/>
                  </a:ext>
                </a:extLst>
              </a:tr>
              <a:tr h="5746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Generate oracle forms methods into java/.net (cross-platform possible) </a:t>
                      </a:r>
                    </a:p>
                  </a:txBody>
                  <a:tcPr/>
                </a:tc>
                <a:tc>
                  <a:txBody>
                    <a:bodyPr/>
                    <a:lstStyle/>
                    <a:p>
                      <a:endParaRPr lang="en-US" dirty="0"/>
                    </a:p>
                  </a:txBody>
                  <a:tcPr/>
                </a:tc>
                <a:extLst>
                  <a:ext uri="{0D108BD9-81ED-4DB2-BD59-A6C34878D82A}">
                    <a16:rowId xmlns:a16="http://schemas.microsoft.com/office/drawing/2014/main" val="1533478411"/>
                  </a:ext>
                </a:extLst>
              </a:tr>
              <a:tr h="8765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Creating UI frontend code &amp; unit test cases for Vue.JS application.</a:t>
                      </a:r>
                    </a:p>
                  </a:txBody>
                  <a:tcPr/>
                </a:tc>
                <a:tc>
                  <a:txBody>
                    <a:bodyPr/>
                    <a:lstStyle/>
                    <a:p>
                      <a:endParaRPr lang="en-US" dirty="0"/>
                    </a:p>
                  </a:txBody>
                  <a:tcPr/>
                </a:tc>
                <a:extLst>
                  <a:ext uri="{0D108BD9-81ED-4DB2-BD59-A6C34878D82A}">
                    <a16:rowId xmlns:a16="http://schemas.microsoft.com/office/drawing/2014/main" val="3916074989"/>
                  </a:ext>
                </a:extLst>
              </a:tr>
            </a:tbl>
          </a:graphicData>
        </a:graphic>
      </p:graphicFrame>
      <p:sp>
        <p:nvSpPr>
          <p:cNvPr id="45" name="Rectangle 44">
            <a:extLst>
              <a:ext uri="{FF2B5EF4-FFF2-40B4-BE49-F238E27FC236}">
                <a16:creationId xmlns:a16="http://schemas.microsoft.com/office/drawing/2014/main" id="{F8EBCE65-5E1B-D453-300B-9DE3EC5E1F98}"/>
              </a:ext>
            </a:extLst>
          </p:cNvPr>
          <p:cNvSpPr/>
          <p:nvPr/>
        </p:nvSpPr>
        <p:spPr>
          <a:xfrm>
            <a:off x="10959992" y="1978225"/>
            <a:ext cx="258010" cy="22277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6" name="Rectangle 45">
            <a:extLst>
              <a:ext uri="{FF2B5EF4-FFF2-40B4-BE49-F238E27FC236}">
                <a16:creationId xmlns:a16="http://schemas.microsoft.com/office/drawing/2014/main" id="{A06B27CA-7B26-5760-6AF9-F29D4401C985}"/>
              </a:ext>
            </a:extLst>
          </p:cNvPr>
          <p:cNvSpPr/>
          <p:nvPr/>
        </p:nvSpPr>
        <p:spPr>
          <a:xfrm>
            <a:off x="10969657" y="2502621"/>
            <a:ext cx="258010" cy="22277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8" name="Rectangle 47">
            <a:extLst>
              <a:ext uri="{FF2B5EF4-FFF2-40B4-BE49-F238E27FC236}">
                <a16:creationId xmlns:a16="http://schemas.microsoft.com/office/drawing/2014/main" id="{061614E7-72AB-23E5-DDF6-84A1AE662E05}"/>
              </a:ext>
            </a:extLst>
          </p:cNvPr>
          <p:cNvSpPr/>
          <p:nvPr/>
        </p:nvSpPr>
        <p:spPr>
          <a:xfrm>
            <a:off x="10969657" y="4162901"/>
            <a:ext cx="258010" cy="222770"/>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9" name="Rectangle 48">
            <a:extLst>
              <a:ext uri="{FF2B5EF4-FFF2-40B4-BE49-F238E27FC236}">
                <a16:creationId xmlns:a16="http://schemas.microsoft.com/office/drawing/2014/main" id="{6E276D7D-9B44-ADBF-2C7B-340E13A4C125}"/>
              </a:ext>
            </a:extLst>
          </p:cNvPr>
          <p:cNvSpPr/>
          <p:nvPr/>
        </p:nvSpPr>
        <p:spPr>
          <a:xfrm>
            <a:off x="10969657" y="5519478"/>
            <a:ext cx="258010" cy="222770"/>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0" name="Rectangle 49">
            <a:extLst>
              <a:ext uri="{FF2B5EF4-FFF2-40B4-BE49-F238E27FC236}">
                <a16:creationId xmlns:a16="http://schemas.microsoft.com/office/drawing/2014/main" id="{25C4DEE7-28D3-503D-4434-35E53D27E143}"/>
              </a:ext>
            </a:extLst>
          </p:cNvPr>
          <p:cNvSpPr/>
          <p:nvPr/>
        </p:nvSpPr>
        <p:spPr>
          <a:xfrm>
            <a:off x="10969657" y="6250499"/>
            <a:ext cx="258010" cy="222770"/>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1" name="Rectangle 50">
            <a:extLst>
              <a:ext uri="{FF2B5EF4-FFF2-40B4-BE49-F238E27FC236}">
                <a16:creationId xmlns:a16="http://schemas.microsoft.com/office/drawing/2014/main" id="{EA706EC2-FC88-7F61-B30C-2BABC27F03F3}"/>
              </a:ext>
            </a:extLst>
          </p:cNvPr>
          <p:cNvSpPr/>
          <p:nvPr/>
        </p:nvSpPr>
        <p:spPr>
          <a:xfrm>
            <a:off x="10969657" y="4952356"/>
            <a:ext cx="258010" cy="222770"/>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3" name="TextBox 52">
            <a:extLst>
              <a:ext uri="{FF2B5EF4-FFF2-40B4-BE49-F238E27FC236}">
                <a16:creationId xmlns:a16="http://schemas.microsoft.com/office/drawing/2014/main" id="{6DB91146-10AB-0089-E129-869066AEACAE}"/>
              </a:ext>
            </a:extLst>
          </p:cNvPr>
          <p:cNvSpPr txBox="1"/>
          <p:nvPr/>
        </p:nvSpPr>
        <p:spPr>
          <a:xfrm>
            <a:off x="9507342" y="154623"/>
            <a:ext cx="2177035" cy="181602"/>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Capabilities identified and POC worked</a:t>
            </a:r>
          </a:p>
        </p:txBody>
      </p:sp>
      <p:sp>
        <p:nvSpPr>
          <p:cNvPr id="7" name="Rectangle 6">
            <a:extLst>
              <a:ext uri="{FF2B5EF4-FFF2-40B4-BE49-F238E27FC236}">
                <a16:creationId xmlns:a16="http://schemas.microsoft.com/office/drawing/2014/main" id="{5E0F1BB0-72DB-DEB0-063F-252B0D550814}"/>
              </a:ext>
            </a:extLst>
          </p:cNvPr>
          <p:cNvSpPr/>
          <p:nvPr/>
        </p:nvSpPr>
        <p:spPr>
          <a:xfrm>
            <a:off x="10969657" y="3160009"/>
            <a:ext cx="258010" cy="22277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28328817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30.xml><?xml version="1.0" encoding="utf-8"?>
<p:tagLst xmlns:a="http://schemas.openxmlformats.org/drawingml/2006/main" xmlns:r="http://schemas.openxmlformats.org/officeDocument/2006/relationships" xmlns:p="http://schemas.openxmlformats.org/presentationml/2006/main">
  <p:tag name="MTTABLE" val="HDiv"/>
  <p:tag name="MTNUMBER" val="0.893915512549652"/>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Props1.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3.xml><?xml version="1.0" encoding="utf-8"?>
<ds:datastoreItem xmlns:ds="http://schemas.openxmlformats.org/officeDocument/2006/customXml" ds:itemID="{FCB39F72-E109-4DC6-8649-D2A538E61541}">
  <ds:schemaRefs>
    <ds:schemaRef ds:uri="http://www.w3.org/XML/1998/namespace"/>
    <ds:schemaRef ds:uri="e5f5a6fe-4a1b-4af0-bdf3-973ca2ac5c9b"/>
    <ds:schemaRef ds:uri="http://schemas.microsoft.com/office/2006/documentManagement/types"/>
    <ds:schemaRef ds:uri="http://schemas.microsoft.com/office/infopath/2007/PartnerControls"/>
    <ds:schemaRef ds:uri="http://purl.org/dc/terms/"/>
    <ds:schemaRef ds:uri="http://purl.org/dc/elements/1.1/"/>
    <ds:schemaRef ds:uri="http://schemas.openxmlformats.org/package/2006/metadata/core-properties"/>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6601</TotalTime>
  <Words>2166</Words>
  <Application>Microsoft Office PowerPoint</Application>
  <PresentationFormat>Widescreen</PresentationFormat>
  <Paragraphs>692</Paragraphs>
  <Slides>19</Slides>
  <Notes>3</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2</vt:i4>
      </vt:variant>
      <vt:variant>
        <vt:lpstr>Slide Titles</vt:lpstr>
      </vt:variant>
      <vt:variant>
        <vt:i4>19</vt:i4>
      </vt:variant>
    </vt:vector>
  </HeadingPairs>
  <TitlesOfParts>
    <vt:vector size="33" baseType="lpstr">
      <vt:lpstr>Arial</vt:lpstr>
      <vt:lpstr>Calibri</vt:lpstr>
      <vt:lpstr>Courier New</vt:lpstr>
      <vt:lpstr>Georgia</vt:lpstr>
      <vt:lpstr>Helvetica</vt:lpstr>
      <vt:lpstr>Segoe UI</vt:lpstr>
      <vt:lpstr>Symbol</vt:lpstr>
      <vt:lpstr>Times New Roman</vt:lpstr>
      <vt:lpstr>Wingdings</vt:lpstr>
      <vt:lpstr>1_EO&amp;T Slide Master</vt:lpstr>
      <vt:lpstr>1_White</vt:lpstr>
      <vt:lpstr>EO&amp;T Slide Master</vt:lpstr>
      <vt:lpstr>think-cell Slide</vt:lpstr>
      <vt:lpstr>Acrobat Document</vt:lpstr>
      <vt:lpstr>DevSecOps &amp; Automation – EP&amp;S    Monthly Report Out - June 2024</vt:lpstr>
      <vt:lpstr> CONTENTS</vt:lpstr>
      <vt:lpstr>2024 OKR AND FOCUS AREAS</vt:lpstr>
      <vt:lpstr>Progress</vt:lpstr>
      <vt:lpstr>Engineering Progress</vt:lpstr>
      <vt:lpstr>Product support Progress</vt:lpstr>
      <vt:lpstr>DevSecops Pilots( Embedded Support)</vt:lpstr>
      <vt:lpstr>DevSecOps capability building: Out of all the support models, Embedded support has the most promise for Engineering</vt:lpstr>
      <vt:lpstr>Amazon Q &amp; Code Whisperer Updates</vt:lpstr>
      <vt:lpstr>TECHNICAL SESSION</vt:lpstr>
      <vt:lpstr>              Technical Upskill sessions</vt:lpstr>
      <vt:lpstr>AUTOMATION PROGRESS</vt:lpstr>
      <vt:lpstr>Automation 2024</vt:lpstr>
      <vt:lpstr>Automation Status - 2024</vt:lpstr>
      <vt:lpstr>Training and references</vt:lpstr>
      <vt:lpstr>                          Training and support</vt:lpstr>
      <vt:lpstr>Assessment Process</vt:lpstr>
      <vt:lpstr>Contact u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893</cp:revision>
  <dcterms:created xsi:type="dcterms:W3CDTF">2022-04-18T05:47:46Z</dcterms:created>
  <dcterms:modified xsi:type="dcterms:W3CDTF">2024-07-15T04:49: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